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7.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67.xml" ContentType="application/vnd.openxmlformats-officedocument.presentationml.slideLayout+xml"/>
  <Override PartName="/ppt/theme/theme8.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heme/theme9.xml" ContentType="application/vnd.openxmlformats-officedocument.theme+xml"/>
  <Override PartName="/ppt/tags/tag74.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0.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11.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12.xml" ContentType="application/vnd.openxmlformats-officedocument.them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13.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758" r:id="rId3"/>
    <p:sldMasterId id="2147483782" r:id="rId4"/>
    <p:sldMasterId id="2147483824" r:id="rId5"/>
    <p:sldMasterId id="2147483891" r:id="rId6"/>
    <p:sldMasterId id="2147483894" r:id="rId7"/>
    <p:sldMasterId id="2147483895" r:id="rId8"/>
    <p:sldMasterId id="2147483896" r:id="rId9"/>
    <p:sldMasterId id="2147483899" r:id="rId10"/>
    <p:sldMasterId id="2147483924" r:id="rId11"/>
    <p:sldMasterId id="2147483950" r:id="rId12"/>
    <p:sldMasterId id="2147483984" r:id="rId13"/>
    <p:sldMasterId id="2147483998" r:id="rId14"/>
  </p:sldMasterIdLst>
  <p:notesMasterIdLst>
    <p:notesMasterId r:id="rId19"/>
  </p:notesMasterIdLst>
  <p:handoutMasterIdLst>
    <p:handoutMasterId r:id="rId20"/>
  </p:handoutMasterIdLst>
  <p:sldIdLst>
    <p:sldId id="444" r:id="rId15"/>
    <p:sldId id="445" r:id="rId16"/>
    <p:sldId id="446" r:id="rId17"/>
    <p:sldId id="447" r:id="rId18"/>
  </p:sldIdLst>
  <p:sldSz cx="13442950" cy="7561263"/>
  <p:notesSz cx="6797675" cy="9926638"/>
  <p:custDataLst>
    <p:tags r:id="rId21"/>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B3449"/>
    <a:srgbClr val="DFDEDE"/>
    <a:srgbClr val="000000"/>
    <a:srgbClr val="CAC8C8"/>
    <a:srgbClr val="8547AD"/>
    <a:srgbClr val="33006F"/>
    <a:srgbClr val="0099A8"/>
    <a:srgbClr val="EA576C"/>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5" autoAdjust="0"/>
    <p:restoredTop sz="95064" autoAdjust="0"/>
  </p:normalViewPr>
  <p:slideViewPr>
    <p:cSldViewPr snapToGrid="0">
      <p:cViewPr varScale="1">
        <p:scale>
          <a:sx n="77" d="100"/>
          <a:sy n="77" d="100"/>
        </p:scale>
        <p:origin x="120" y="96"/>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79" d="100"/>
          <a:sy n="79" d="100"/>
        </p:scale>
        <p:origin x="3198"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slideMaster" Target="slideMasters/slideMaster12.xml"/><Relationship Id="rId18" Type="http://schemas.openxmlformats.org/officeDocument/2006/relationships/slide" Target="slides/slide4.xml"/><Relationship Id="rId26" Type="http://schemas.openxmlformats.org/officeDocument/2006/relationships/tableStyles" Target="tableStyles.xml"/><Relationship Id="rId3" Type="http://schemas.openxmlformats.org/officeDocument/2006/relationships/slideMaster" Target="slideMasters/slideMaster2.xml"/><Relationship Id="rId21" Type="http://schemas.openxmlformats.org/officeDocument/2006/relationships/tags" Target="tags/tag1.xml"/><Relationship Id="rId7" Type="http://schemas.openxmlformats.org/officeDocument/2006/relationships/slideMaster" Target="slideMasters/slideMaster6.xml"/><Relationship Id="rId12" Type="http://schemas.openxmlformats.org/officeDocument/2006/relationships/slideMaster" Target="slideMasters/slideMaster11.xml"/><Relationship Id="rId17" Type="http://schemas.openxmlformats.org/officeDocument/2006/relationships/slide" Target="slides/slide3.xml"/><Relationship Id="rId25" Type="http://schemas.openxmlformats.org/officeDocument/2006/relationships/theme" Target="theme/theme1.xml"/><Relationship Id="rId2" Type="http://schemas.openxmlformats.org/officeDocument/2006/relationships/slideMaster" Target="slideMasters/slideMaster1.xml"/><Relationship Id="rId16" Type="http://schemas.openxmlformats.org/officeDocument/2006/relationships/slide" Target="slides/slide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viewProps" Target="viewProps.xml"/><Relationship Id="rId5" Type="http://schemas.openxmlformats.org/officeDocument/2006/relationships/slideMaster" Target="slideMasters/slideMaster4.xml"/><Relationship Id="rId15" Type="http://schemas.openxmlformats.org/officeDocument/2006/relationships/slide" Target="slides/slide1.xml"/><Relationship Id="rId23" Type="http://schemas.openxmlformats.org/officeDocument/2006/relationships/presProps" Target="presProps.xml"/><Relationship Id="rId10" Type="http://schemas.openxmlformats.org/officeDocument/2006/relationships/slideMaster" Target="slideMasters/slideMaster9.xml"/><Relationship Id="rId19" Type="http://schemas.openxmlformats.org/officeDocument/2006/relationships/notesMaster" Target="notesMasters/notesMaster1.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Master" Target="slideMasters/slideMaster13.xml"/><Relationship Id="rId2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dirty="0"/>
              <a:t>% ABC1 Adults</a:t>
            </a:r>
            <a:endParaRPr lang="en-US" sz="900" dirty="0"/>
          </a:p>
        </c:rich>
      </c:tx>
      <c:layout>
        <c:manualLayout>
          <c:xMode val="edge"/>
          <c:yMode val="edge"/>
          <c:x val="0.4679432937659852"/>
          <c:y val="2.5864037034042573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3.5560429966071484E-2"/>
          <c:y val="9.1675181094081348E-2"/>
          <c:w val="0.95231046074466308"/>
          <c:h val="0.78750901422786801"/>
        </c:manualLayout>
      </c:layout>
      <c:barChart>
        <c:barDir val="col"/>
        <c:grouping val="clustered"/>
        <c:varyColors val="0"/>
        <c:ser>
          <c:idx val="0"/>
          <c:order val="0"/>
          <c:tx>
            <c:strRef>
              <c:f>Sheet1!$B$1</c:f>
              <c:strCache>
                <c:ptCount val="1"/>
                <c:pt idx="0">
                  <c:v>% ABC1
</c:v>
                </c:pt>
              </c:strCache>
            </c:strRef>
          </c:tx>
          <c:spPr>
            <a:solidFill>
              <a:schemeClr val="accent3"/>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7A0E-4848-B59D-FCE812B6494B}"/>
              </c:ext>
            </c:extLst>
          </c:dPt>
          <c:dPt>
            <c:idx val="1"/>
            <c:invertIfNegative val="0"/>
            <c:bubble3D val="0"/>
            <c:spPr>
              <a:solidFill>
                <a:schemeClr val="accent3"/>
              </a:solidFill>
              <a:ln>
                <a:noFill/>
              </a:ln>
              <a:effectLst/>
            </c:spPr>
            <c:extLst>
              <c:ext xmlns:c16="http://schemas.microsoft.com/office/drawing/2014/chart" uri="{C3380CC4-5D6E-409C-BE32-E72D297353CC}">
                <c16:uniqueId val="{00000003-7A0E-4848-B59D-FCE812B6494B}"/>
              </c:ext>
            </c:extLst>
          </c:dPt>
          <c:dLbls>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7A0E-4848-B59D-FCE812B6494B}"/>
                </c:ext>
              </c:extLst>
            </c:dLbl>
            <c:dLbl>
              <c:idx val="1"/>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7A0E-4848-B59D-FCE812B6494B}"/>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Downton Abbey 2</c:v>
                </c:pt>
                <c:pt idx="1">
                  <c:v>Death On The Nile</c:v>
                </c:pt>
                <c:pt idx="2">
                  <c:v>Belfast</c:v>
                </c:pt>
                <c:pt idx="3">
                  <c:v>Elvis</c:v>
                </c:pt>
                <c:pt idx="4">
                  <c:v>Avatar 2</c:v>
                </c:pt>
                <c:pt idx="5">
                  <c:v>Top Gun: Maverick</c:v>
                </c:pt>
                <c:pt idx="6">
                  <c:v>Mission: Impossible 7</c:v>
                </c:pt>
                <c:pt idx="7">
                  <c:v>Fantastic Beasts: The Secrets Of Dumbledore</c:v>
                </c:pt>
              </c:strCache>
            </c:strRef>
          </c:cat>
          <c:val>
            <c:numRef>
              <c:f>Sheet1!$B$2:$B$9</c:f>
              <c:numCache>
                <c:formatCode>0%</c:formatCode>
                <c:ptCount val="8"/>
                <c:pt idx="0">
                  <c:v>0.77810000000000001</c:v>
                </c:pt>
                <c:pt idx="1">
                  <c:v>0.70169999999999999</c:v>
                </c:pt>
                <c:pt idx="2">
                  <c:v>0.7</c:v>
                </c:pt>
                <c:pt idx="3">
                  <c:v>0.67559999999999998</c:v>
                </c:pt>
                <c:pt idx="4">
                  <c:v>0.6361</c:v>
                </c:pt>
                <c:pt idx="5">
                  <c:v>0.63270000000000004</c:v>
                </c:pt>
                <c:pt idx="6">
                  <c:v>0.62519999999999998</c:v>
                </c:pt>
                <c:pt idx="7">
                  <c:v>0.59470000000000001</c:v>
                </c:pt>
              </c:numCache>
            </c:numRef>
          </c:val>
          <c:extLst>
            <c:ext xmlns:c16="http://schemas.microsoft.com/office/drawing/2014/chart" uri="{C3380CC4-5D6E-409C-BE32-E72D297353CC}">
              <c16:uniqueId val="{00000004-7A0E-4848-B59D-FCE812B6494B}"/>
            </c:ext>
          </c:extLst>
        </c:ser>
        <c:dLbls>
          <c:showLegendKey val="0"/>
          <c:showVal val="0"/>
          <c:showCatName val="0"/>
          <c:showSerName val="0"/>
          <c:showPercent val="0"/>
          <c:showBubbleSize val="0"/>
        </c:dLbls>
        <c:gapWidth val="170"/>
        <c:axId val="206424944"/>
        <c:axId val="206425272"/>
      </c:barChart>
      <c:catAx>
        <c:axId val="206424944"/>
        <c:scaling>
          <c:orientation val="minMax"/>
        </c:scaling>
        <c:delete val="0"/>
        <c:axPos val="b"/>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en-US"/>
          </a:p>
        </c:txPr>
        <c:crossAx val="206425272"/>
        <c:crosses val="autoZero"/>
        <c:auto val="1"/>
        <c:lblAlgn val="ctr"/>
        <c:lblOffset val="100"/>
        <c:noMultiLvlLbl val="0"/>
      </c:catAx>
      <c:valAx>
        <c:axId val="206425272"/>
        <c:scaling>
          <c:orientation val="minMax"/>
          <c:max val="0.9"/>
        </c:scaling>
        <c:delete val="0"/>
        <c:axPos val="l"/>
        <c:majorGridlines>
          <c:spPr>
            <a:ln w="9525" cap="flat" cmpd="sng" algn="ctr">
              <a:solidFill>
                <a:schemeClr val="accent5">
                  <a:lumMod val="40000"/>
                  <a:lumOff val="60000"/>
                </a:schemeClr>
              </a:solidFill>
              <a:round/>
            </a:ln>
            <a:effectLst/>
          </c:spPr>
        </c:majorGridlines>
        <c:numFmt formatCode="0%" sourceLinked="1"/>
        <c:majorTickMark val="out"/>
        <c:minorTickMark val="none"/>
        <c:tickLblPos val="nextTo"/>
        <c:spPr>
          <a:noFill/>
          <a:ln>
            <a:solidFill>
              <a:schemeClr val="accent6"/>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206424944"/>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8F741D12-1BA0-4D16-B253-39E4DA7AD69F}" type="datetimeFigureOut">
              <a:rPr lang="en-US" smtClean="0"/>
              <a:pPr/>
              <a:t>1/7/2022</a:t>
            </a:fld>
            <a:endParaRPr lang="en-US"/>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DBD0E036-A0EF-40EA-AC2B-818A5F8CFC1C}" type="datetimeFigureOut">
              <a:rPr lang="en-US" smtClean="0"/>
              <a:pPr/>
              <a:t>1/7/2022</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7929875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8.emf"/><Relationship Id="rId2" Type="http://schemas.openxmlformats.org/officeDocument/2006/relationships/tags" Target="../tags/tag107.xml"/><Relationship Id="rId1" Type="http://schemas.openxmlformats.org/officeDocument/2006/relationships/vmlDrawing" Target="../drawings/vmlDrawing10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8.emf"/><Relationship Id="rId2" Type="http://schemas.openxmlformats.org/officeDocument/2006/relationships/tags" Target="../tags/tag108.xml"/><Relationship Id="rId1" Type="http://schemas.openxmlformats.org/officeDocument/2006/relationships/vmlDrawing" Target="../drawings/vmlDrawing10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07.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8.emf"/><Relationship Id="rId2" Type="http://schemas.openxmlformats.org/officeDocument/2006/relationships/tags" Target="../tags/tag109.xml"/><Relationship Id="rId1" Type="http://schemas.openxmlformats.org/officeDocument/2006/relationships/vmlDrawing" Target="../drawings/vmlDrawing10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8.emf"/><Relationship Id="rId2" Type="http://schemas.openxmlformats.org/officeDocument/2006/relationships/tags" Target="../tags/tag110.xml"/><Relationship Id="rId1" Type="http://schemas.openxmlformats.org/officeDocument/2006/relationships/vmlDrawing" Target="../drawings/vmlDrawing10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09.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8.emf"/><Relationship Id="rId2" Type="http://schemas.openxmlformats.org/officeDocument/2006/relationships/tags" Target="../tags/tag111.xml"/><Relationship Id="rId1" Type="http://schemas.openxmlformats.org/officeDocument/2006/relationships/vmlDrawing" Target="../drawings/vmlDrawing11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10.bin"/></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8.emf"/><Relationship Id="rId2" Type="http://schemas.openxmlformats.org/officeDocument/2006/relationships/tags" Target="../tags/tag112.xml"/><Relationship Id="rId1" Type="http://schemas.openxmlformats.org/officeDocument/2006/relationships/vmlDrawing" Target="../drawings/vmlDrawing11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11.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8.emf"/><Relationship Id="rId2" Type="http://schemas.openxmlformats.org/officeDocument/2006/relationships/tags" Target="../tags/tag113.xml"/><Relationship Id="rId1" Type="http://schemas.openxmlformats.org/officeDocument/2006/relationships/vmlDrawing" Target="../drawings/vmlDrawing11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12.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8.emf"/><Relationship Id="rId2" Type="http://schemas.openxmlformats.org/officeDocument/2006/relationships/tags" Target="../tags/tag114.xml"/><Relationship Id="rId1" Type="http://schemas.openxmlformats.org/officeDocument/2006/relationships/vmlDrawing" Target="../drawings/vmlDrawing11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13.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8.emf"/><Relationship Id="rId2" Type="http://schemas.openxmlformats.org/officeDocument/2006/relationships/tags" Target="../tags/tag115.xml"/><Relationship Id="rId1" Type="http://schemas.openxmlformats.org/officeDocument/2006/relationships/vmlDrawing" Target="../drawings/vmlDrawing1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14.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7.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16.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8.xml"/><Relationship Id="rId1" Type="http://schemas.openxmlformats.org/officeDocument/2006/relationships/vmlDrawing" Target="../drawings/vmlDrawing117.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9.xml"/><Relationship Id="rId1" Type="http://schemas.openxmlformats.org/officeDocument/2006/relationships/vmlDrawing" Target="../drawings/vmlDrawing118.vml"/><Relationship Id="rId5" Type="http://schemas.openxmlformats.org/officeDocument/2006/relationships/image" Target="../media/image1.emf"/><Relationship Id="rId4" Type="http://schemas.openxmlformats.org/officeDocument/2006/relationships/oleObject" Target="../embeddings/oleObject118.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0.xml"/><Relationship Id="rId1" Type="http://schemas.openxmlformats.org/officeDocument/2006/relationships/vmlDrawing" Target="../drawings/vmlDrawing119.vml"/><Relationship Id="rId5" Type="http://schemas.openxmlformats.org/officeDocument/2006/relationships/image" Target="../media/image1.emf"/><Relationship Id="rId4" Type="http://schemas.openxmlformats.org/officeDocument/2006/relationships/oleObject" Target="../embeddings/oleObject119.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1.xml"/><Relationship Id="rId1" Type="http://schemas.openxmlformats.org/officeDocument/2006/relationships/vmlDrawing" Target="../drawings/vmlDrawing120.vml"/><Relationship Id="rId5" Type="http://schemas.openxmlformats.org/officeDocument/2006/relationships/image" Target="../media/image1.emf"/><Relationship Id="rId4" Type="http://schemas.openxmlformats.org/officeDocument/2006/relationships/oleObject" Target="../embeddings/oleObject120.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2.xml"/><Relationship Id="rId1" Type="http://schemas.openxmlformats.org/officeDocument/2006/relationships/vmlDrawing" Target="../drawings/vmlDrawing121.vml"/><Relationship Id="rId5" Type="http://schemas.openxmlformats.org/officeDocument/2006/relationships/image" Target="../media/image1.emf"/><Relationship Id="rId4" Type="http://schemas.openxmlformats.org/officeDocument/2006/relationships/oleObject" Target="../embeddings/oleObject121.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3.xml"/><Relationship Id="rId1" Type="http://schemas.openxmlformats.org/officeDocument/2006/relationships/vmlDrawing" Target="../drawings/vmlDrawing122.vml"/><Relationship Id="rId5" Type="http://schemas.openxmlformats.org/officeDocument/2006/relationships/image" Target="../media/image1.emf"/><Relationship Id="rId4" Type="http://schemas.openxmlformats.org/officeDocument/2006/relationships/oleObject" Target="../embeddings/oleObject12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4.xml"/><Relationship Id="rId1" Type="http://schemas.openxmlformats.org/officeDocument/2006/relationships/vmlDrawing" Target="../drawings/vmlDrawing123.vml"/><Relationship Id="rId5" Type="http://schemas.openxmlformats.org/officeDocument/2006/relationships/image" Target="../media/image1.emf"/><Relationship Id="rId4" Type="http://schemas.openxmlformats.org/officeDocument/2006/relationships/oleObject" Target="../embeddings/oleObject123.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5.xml"/><Relationship Id="rId1" Type="http://schemas.openxmlformats.org/officeDocument/2006/relationships/vmlDrawing" Target="../drawings/vmlDrawing124.vml"/><Relationship Id="rId5" Type="http://schemas.openxmlformats.org/officeDocument/2006/relationships/image" Target="../media/image1.emf"/><Relationship Id="rId4" Type="http://schemas.openxmlformats.org/officeDocument/2006/relationships/oleObject" Target="../embeddings/oleObject124.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6.xml"/><Relationship Id="rId1" Type="http://schemas.openxmlformats.org/officeDocument/2006/relationships/vmlDrawing" Target="../drawings/vmlDrawing125.vml"/><Relationship Id="rId5" Type="http://schemas.openxmlformats.org/officeDocument/2006/relationships/image" Target="../media/image1.emf"/><Relationship Id="rId4" Type="http://schemas.openxmlformats.org/officeDocument/2006/relationships/oleObject" Target="../embeddings/oleObject125.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7.xml"/><Relationship Id="rId1" Type="http://schemas.openxmlformats.org/officeDocument/2006/relationships/vmlDrawing" Target="../drawings/vmlDrawing126.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8.xml"/><Relationship Id="rId1" Type="http://schemas.openxmlformats.org/officeDocument/2006/relationships/vmlDrawing" Target="../drawings/vmlDrawing127.vml"/><Relationship Id="rId5" Type="http://schemas.openxmlformats.org/officeDocument/2006/relationships/image" Target="../media/image1.emf"/><Relationship Id="rId4" Type="http://schemas.openxmlformats.org/officeDocument/2006/relationships/oleObject" Target="../embeddings/oleObject127.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9.xml"/><Relationship Id="rId1" Type="http://schemas.openxmlformats.org/officeDocument/2006/relationships/vmlDrawing" Target="../drawings/vmlDrawing128.vml"/><Relationship Id="rId5" Type="http://schemas.openxmlformats.org/officeDocument/2006/relationships/image" Target="../media/image1.emf"/><Relationship Id="rId4" Type="http://schemas.openxmlformats.org/officeDocument/2006/relationships/oleObject" Target="../embeddings/oleObject128.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0.xml"/><Relationship Id="rId1" Type="http://schemas.openxmlformats.org/officeDocument/2006/relationships/vmlDrawing" Target="../drawings/vmlDrawing129.vml"/><Relationship Id="rId5" Type="http://schemas.openxmlformats.org/officeDocument/2006/relationships/image" Target="../media/image1.emf"/><Relationship Id="rId4" Type="http://schemas.openxmlformats.org/officeDocument/2006/relationships/oleObject" Target="../embeddings/oleObject129.bin"/></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1.xml"/><Relationship Id="rId1" Type="http://schemas.openxmlformats.org/officeDocument/2006/relationships/vmlDrawing" Target="../drawings/vmlDrawing130.vml"/><Relationship Id="rId5" Type="http://schemas.openxmlformats.org/officeDocument/2006/relationships/image" Target="../media/image1.emf"/><Relationship Id="rId4" Type="http://schemas.openxmlformats.org/officeDocument/2006/relationships/oleObject" Target="../embeddings/oleObject130.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7.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3.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6.xml"/><Relationship Id="rId1" Type="http://schemas.openxmlformats.org/officeDocument/2006/relationships/vmlDrawing" Target="../drawings/vmlDrawing7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77.xml"/><Relationship Id="rId1" Type="http://schemas.openxmlformats.org/officeDocument/2006/relationships/vmlDrawing" Target="../drawings/vmlDrawing7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78.xml"/><Relationship Id="rId1" Type="http://schemas.openxmlformats.org/officeDocument/2006/relationships/vmlDrawing" Target="../drawings/vmlDrawing7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79.xml"/><Relationship Id="rId1" Type="http://schemas.openxmlformats.org/officeDocument/2006/relationships/vmlDrawing" Target="../drawings/vmlDrawing7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80.xml"/><Relationship Id="rId1" Type="http://schemas.openxmlformats.org/officeDocument/2006/relationships/vmlDrawing" Target="../drawings/vmlDrawing7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81.xml"/><Relationship Id="rId1" Type="http://schemas.openxmlformats.org/officeDocument/2006/relationships/vmlDrawing" Target="../drawings/vmlDrawing8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82.xml"/><Relationship Id="rId1" Type="http://schemas.openxmlformats.org/officeDocument/2006/relationships/vmlDrawing" Target="../drawings/vmlDrawing8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83.xml"/><Relationship Id="rId1" Type="http://schemas.openxmlformats.org/officeDocument/2006/relationships/vmlDrawing" Target="../drawings/vmlDrawing8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84.xml"/><Relationship Id="rId1" Type="http://schemas.openxmlformats.org/officeDocument/2006/relationships/vmlDrawing" Target="../drawings/vmlDrawing8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85.xml"/><Relationship Id="rId1" Type="http://schemas.openxmlformats.org/officeDocument/2006/relationships/vmlDrawing" Target="../drawings/vmlDrawing8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87.xml"/><Relationship Id="rId1" Type="http://schemas.openxmlformats.org/officeDocument/2006/relationships/vmlDrawing" Target="../drawings/vmlDrawing86.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88.xml"/><Relationship Id="rId1" Type="http://schemas.openxmlformats.org/officeDocument/2006/relationships/vmlDrawing" Target="../drawings/vmlDrawing87.vml"/><Relationship Id="rId6" Type="http://schemas.openxmlformats.org/officeDocument/2006/relationships/image" Target="../media/image7.emf"/><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89.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0.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2.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3.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4.xml"/><Relationship Id="rId1" Type="http://schemas.openxmlformats.org/officeDocument/2006/relationships/vmlDrawing" Target="../drawings/vmlDrawing93.vml"/><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5.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6.xml"/><Relationship Id="rId1" Type="http://schemas.openxmlformats.org/officeDocument/2006/relationships/vmlDrawing" Target="../drawings/vmlDrawing95.vml"/><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7.xml"/><Relationship Id="rId1" Type="http://schemas.openxmlformats.org/officeDocument/2006/relationships/vmlDrawing" Target="../drawings/vmlDrawing96.vml"/><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8.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9.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0.xml"/><Relationship Id="rId1" Type="http://schemas.openxmlformats.org/officeDocument/2006/relationships/vmlDrawing" Target="../drawings/vmlDrawing99.v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1.xml"/><Relationship Id="rId1" Type="http://schemas.openxmlformats.org/officeDocument/2006/relationships/vmlDrawing" Target="../drawings/vmlDrawing100.vml"/><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2.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3.xml"/><Relationship Id="rId1" Type="http://schemas.openxmlformats.org/officeDocument/2006/relationships/vmlDrawing" Target="../drawings/vmlDrawing102.v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4.xml"/><Relationship Id="rId1" Type="http://schemas.openxmlformats.org/officeDocument/2006/relationships/vmlDrawing" Target="../drawings/vmlDrawing103.v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06.xml"/><Relationship Id="rId1" Type="http://schemas.openxmlformats.org/officeDocument/2006/relationships/vmlDrawing" Target="../drawings/vmlDrawing10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0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9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26" y="5799217"/>
            <a:ext cx="12305338" cy="455176"/>
          </a:xfrm>
          <a:prstGeom prst="rect">
            <a:avLst/>
          </a:prstGeom>
        </p:spPr>
        <p:txBody>
          <a:bodyPr/>
          <a:lstStyle>
            <a:lvl1pPr marL="0" indent="0" algn="l">
              <a:lnSpc>
                <a:spcPts val="14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31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00" y="5799575"/>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0848"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4"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4031344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187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2"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3174961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289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395413"/>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4071346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3920"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3" name="Text Placeholder 3"/>
          <p:cNvSpPr>
            <a:spLocks noGrp="1"/>
          </p:cNvSpPr>
          <p:nvPr>
            <p:ph type="body" sz="quarter" idx="10" hasCustomPrompt="1"/>
          </p:nvPr>
        </p:nvSpPr>
        <p:spPr bwMode="gray">
          <a:xfrm>
            <a:off x="1458614" y="1395414"/>
            <a:ext cx="10555362"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1" name="Picture 10" descr="DCM LEFT LOGO ALL-05.eps"/>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2439076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494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1560121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681672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2378725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3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596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rgbClr val="EA576C"/>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1421915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699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9" name="Picture 8" descr="DCM LEFT LOGO ALL-05.eps"/>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2509312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801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3" cy="4300537"/>
          </a:xfrm>
          <a:ln w="6350" cmpd="sng">
            <a:noFill/>
            <a:prstDash val="lgDash"/>
          </a:ln>
        </p:spPr>
        <p:txBody>
          <a:bodyPr anchor="ctr" anchorCtr="1"/>
          <a:lstStyle>
            <a:lvl1pPr algn="ctr">
              <a:lnSpc>
                <a:spcPts val="6600"/>
              </a:lnSpc>
              <a:buNone/>
              <a:defRPr sz="6600" b="0" cap="all" baseline="0">
                <a:solidFill>
                  <a:srgbClr val="FFFFFF"/>
                </a:solidFill>
                <a:latin typeface="+mj-lt"/>
              </a:defRPr>
            </a:lvl1pPr>
          </a:lstStyle>
          <a:p>
            <a:pPr lvl="0"/>
            <a:r>
              <a:rPr lang="en-GB" dirty="0"/>
              <a:t>QOUTE OR STATEMENT DIT TENO AN UT AUGIAM, VERO ENISMODOLOR ETUM FEUGUER AESSI.</a:t>
            </a:r>
          </a:p>
        </p:txBody>
      </p:sp>
      <p:pic>
        <p:nvPicPr>
          <p:cNvPr id="9" name="Picture 8" descr="DCM LEFT LOGO ALL-05.eps"/>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2733806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904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9" name="Picture 8" descr="DCM LEFT LOGO ALL-05.eps"/>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535256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36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1458614" y="1404920"/>
            <a:ext cx="10555362"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6816720"/>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1458614" y="1395414"/>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746847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12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2188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15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79201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13176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5911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177"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27885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620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5978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722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61217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8249"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36732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9273"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16455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4385"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4"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029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91425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132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88592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234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63894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336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67498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439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02235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541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66410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644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8975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2284074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4288218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6721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409"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2"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21106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51769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3921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746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4083426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6433"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3"/>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7457"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Text Placeholder 3"/>
          <p:cNvSpPr>
            <a:spLocks noGrp="1"/>
          </p:cNvSpPr>
          <p:nvPr>
            <p:ph type="body" sz="quarter" idx="10" hasCustomPrompt="1"/>
          </p:nvPr>
        </p:nvSpPr>
        <p:spPr bwMode="gray">
          <a:xfrm>
            <a:off x="1458614" y="1395414"/>
            <a:ext cx="10555362"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8481"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681672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3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9505"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rgbClr val="EA576C"/>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565988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29"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12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4458" y="5786517"/>
            <a:ext cx="12305338" cy="455176"/>
          </a:xfrm>
          <a:prstGeom prst="rect">
            <a:avLst/>
          </a:prstGeom>
        </p:spPr>
        <p:txBody>
          <a:bodyPr/>
          <a:lstStyle>
            <a:lvl1pPr marL="0" indent="0" algn="l">
              <a:lnSpc>
                <a:spcPts val="15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1553"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3" cy="4300537"/>
          </a:xfrm>
          <a:ln w="6350" cmpd="sng">
            <a:noFill/>
            <a:prstDash val="lgDash"/>
          </a:ln>
        </p:spPr>
        <p:txBody>
          <a:bodyPr anchor="ctr" anchorCtr="1"/>
          <a:lstStyle>
            <a:lvl1pPr algn="ctr">
              <a:lnSpc>
                <a:spcPts val="6600"/>
              </a:lnSpc>
              <a:buNone/>
              <a:defRPr sz="6600" b="0" cap="all" baseline="0">
                <a:solidFill>
                  <a:srgbClr val="FFFFFF"/>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2577"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6816720"/>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1458614" y="1395414"/>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62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64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67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4"/>
            <a:ext cx="12507236" cy="5405437"/>
          </a:xfr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1"/>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3"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2" y="2512932"/>
            <a:ext cx="8402590" cy="3106574"/>
          </a:xfr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232074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697"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1"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1" y="157733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6" y="1902928"/>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1" y="1902928"/>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72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74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769"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8" y="2461174"/>
            <a:ext cx="5238453"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5" y="136229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5" y="156717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8630"/>
            <a:ext cx="5236703"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14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26" y="5799217"/>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793"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8" y="1374361"/>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8" y="1579238"/>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7" y="1374361"/>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7" y="1579238"/>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5" y="1374361"/>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5" y="1579238"/>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5"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68"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81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5"/>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09"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09" y="1583048"/>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6" y="2467962"/>
            <a:ext cx="4169765" cy="102612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0" y="3548040"/>
            <a:ext cx="4169765" cy="105412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2" y="2458714"/>
            <a:ext cx="4128151" cy="1035374"/>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6" y="3559767"/>
            <a:ext cx="4113557" cy="10423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84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2" y="2467962"/>
            <a:ext cx="4162147"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7" y="3548040"/>
            <a:ext cx="415942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59"/>
            <a:ext cx="4163716"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7"/>
            <a:ext cx="414847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3"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3" y="1583048"/>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486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2" cy="1003948"/>
          </a:xfr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3557877"/>
            <a:ext cx="3088537" cy="1003948"/>
          </a:xfr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3"/>
            <a:ext cx="3097100" cy="1003948"/>
          </a:xfr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6"/>
            <a:ext cx="3088946" cy="1003948"/>
          </a:xfr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4" y="1357942"/>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4" y="158495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889"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39832"/>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2" y="807756"/>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2" y="3011508"/>
            <a:ext cx="4152135" cy="1029659"/>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5" y="5207562"/>
            <a:ext cx="4121798" cy="1003948"/>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0" y="3006084"/>
            <a:ext cx="4161383" cy="1029659"/>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0" y="5209764"/>
            <a:ext cx="4164912" cy="1003948"/>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91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29" y="3555676"/>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6"/>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48347"/>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5"/>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93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005158"/>
            <a:ext cx="4158063" cy="1003948"/>
          </a:xfr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220262"/>
            <a:ext cx="4155337" cy="1003948"/>
          </a:xfr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001004"/>
            <a:ext cx="4158063" cy="1003948"/>
          </a:xfr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222464"/>
            <a:ext cx="4163218" cy="1003948"/>
          </a:xfr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0"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5"/>
          <p:cNvSpPr>
            <a:spLocks noGrp="1"/>
          </p:cNvSpPr>
          <p:nvPr>
            <p:ph type="body" sz="quarter" idx="24" hasCustomPrompt="1"/>
          </p:nvPr>
        </p:nvSpPr>
        <p:spPr>
          <a:xfrm>
            <a:off x="6787706"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96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9985"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009"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8" y="3595688"/>
            <a:ext cx="12687182" cy="3206750"/>
          </a:xfr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6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26" y="5802393"/>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203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0"/>
            <a:ext cx="4115448" cy="4313238"/>
          </a:xfr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imagery </a:t>
            </a:r>
          </a:p>
        </p:txBody>
      </p:sp>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408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6802438"/>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cxnSp>
        <p:nvCxnSpPr>
          <p:cNvPr id="7" name="Straight Connector 6"/>
          <p:cNvCxnSpPr/>
          <p:nvPr userDrawn="1"/>
        </p:nvCxnSpPr>
        <p:spPr bwMode="gray">
          <a:xfrm>
            <a:off x="1" y="6792023"/>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9"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510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6802438"/>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5148264"/>
            <a:ext cx="4670102" cy="1768475"/>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2"/>
          <p:cNvSpPr>
            <a:spLocks noGrp="1"/>
          </p:cNvSpPr>
          <p:nvPr>
            <p:ph idx="19" hasCustomPrompt="1"/>
          </p:nvPr>
        </p:nvSpPr>
        <p:spPr bwMode="gray">
          <a:xfrm>
            <a:off x="352267" y="5226050"/>
            <a:ext cx="4173879" cy="1460500"/>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cxnSp>
        <p:nvCxnSpPr>
          <p:cNvPr id="15" name="Straight Connector 14"/>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612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6802438"/>
          </a:xfrm>
          <a:solidFill>
            <a:schemeClr val="accent5">
              <a:lumMod val="60000"/>
              <a:lumOff val="40000"/>
            </a:schemeClr>
          </a:solidFill>
        </p:spPr>
        <p:txBody>
          <a:bodyPr tIns="2160000"/>
          <a:lstStyle>
            <a:lvl1pPr algn="ctr">
              <a:buNone/>
              <a:defRPr>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43364"/>
            <a:ext cx="4670102" cy="2760025"/>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2"/>
          <p:cNvSpPr>
            <a:spLocks noGrp="1"/>
          </p:cNvSpPr>
          <p:nvPr>
            <p:ph idx="19" hasCustomPrompt="1"/>
          </p:nvPr>
        </p:nvSpPr>
        <p:spPr bwMode="gray">
          <a:xfrm>
            <a:off x="355657" y="4102418"/>
            <a:ext cx="4170490" cy="2467292"/>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cxnSp>
        <p:nvCxnSpPr>
          <p:cNvPr id="13" name="Straight Connector 12"/>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715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6802438"/>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11" name="Straight Connector 10"/>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817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6" name="Rectangle 15"/>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hasCustomPrompt="1"/>
          </p:nvPr>
        </p:nvSpPr>
        <p:spPr bwMode="gray">
          <a:xfrm>
            <a:off x="381060" y="1395414"/>
            <a:ext cx="12695650" cy="5407025"/>
          </a:xfrm>
          <a:solidFill>
            <a:srgbClr val="DFDEDE"/>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11" name="Straight Connector 10"/>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920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60" y="1395413"/>
            <a:ext cx="12695650" cy="4854575"/>
          </a:xfrm>
          <a:solidFill>
            <a:srgbClr val="DFDEDE"/>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8" name="Text Placeholder 13"/>
          <p:cNvSpPr>
            <a:spLocks noGrp="1"/>
          </p:cNvSpPr>
          <p:nvPr>
            <p:ph type="body" sz="quarter" idx="17" hasCustomPrompt="1"/>
          </p:nvPr>
        </p:nvSpPr>
        <p:spPr bwMode="gray">
          <a:xfrm>
            <a:off x="354208" y="6338248"/>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54208" y="6515700"/>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hasCustomPrompt="1"/>
          </p:nvPr>
        </p:nvSpPr>
        <p:spPr bwMode="gray">
          <a:xfrm>
            <a:off x="381060" y="1395414"/>
            <a:ext cx="12695650" cy="5407025"/>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022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0" name="Rectangle 19"/>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7" name="Text Placeholder 16"/>
          <p:cNvSpPr>
            <a:spLocks noGrp="1"/>
          </p:cNvSpPr>
          <p:nvPr>
            <p:ph type="body" sz="quarter" idx="20"/>
          </p:nvPr>
        </p:nvSpPr>
        <p:spPr bwMode="gray">
          <a:xfrm>
            <a:off x="-1" y="5148264"/>
            <a:ext cx="4670102" cy="1654174"/>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ontent Placeholder 2"/>
          <p:cNvSpPr>
            <a:spLocks noGrp="1"/>
          </p:cNvSpPr>
          <p:nvPr>
            <p:ph idx="19" hasCustomPrompt="1"/>
          </p:nvPr>
        </p:nvSpPr>
        <p:spPr bwMode="gray">
          <a:xfrm>
            <a:off x="381061" y="5218430"/>
            <a:ext cx="4145086" cy="1031558"/>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124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hasCustomPrompt="1"/>
          </p:nvPr>
        </p:nvSpPr>
        <p:spPr bwMode="gray">
          <a:xfrm>
            <a:off x="381060" y="1395414"/>
            <a:ext cx="12695650" cy="5397272"/>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20" name="Text Placeholder 16"/>
          <p:cNvSpPr>
            <a:spLocks noGrp="1"/>
          </p:cNvSpPr>
          <p:nvPr>
            <p:ph type="body" sz="quarter" idx="20"/>
          </p:nvPr>
        </p:nvSpPr>
        <p:spPr bwMode="gray">
          <a:xfrm>
            <a:off x="1" y="4043364"/>
            <a:ext cx="4670102" cy="2760025"/>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Content Placeholder 2"/>
          <p:cNvSpPr>
            <a:spLocks noGrp="1"/>
          </p:cNvSpPr>
          <p:nvPr>
            <p:ph idx="19" hasCustomPrompt="1"/>
          </p:nvPr>
        </p:nvSpPr>
        <p:spPr bwMode="gray">
          <a:xfrm>
            <a:off x="367041" y="4148139"/>
            <a:ext cx="4159104" cy="1547812"/>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227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6" y="15849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2545" y="1895312"/>
            <a:ext cx="4148197" cy="4354677"/>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Picture Placeholder 13"/>
          <p:cNvSpPr>
            <a:spLocks noGrp="1"/>
          </p:cNvSpPr>
          <p:nvPr>
            <p:ph type="pic" sz="quarter" idx="18" hasCustomPrompt="1"/>
          </p:nvPr>
        </p:nvSpPr>
        <p:spPr bwMode="gray">
          <a:xfrm>
            <a:off x="4670103" y="1395413"/>
            <a:ext cx="8406608" cy="4854576"/>
          </a:xfrm>
          <a:solidFill>
            <a:schemeClr val="accent5">
              <a:lumMod val="60000"/>
              <a:lumOff val="40000"/>
            </a:schemeClr>
          </a:solidFill>
        </p:spPr>
        <p:txBody>
          <a:bodyPr tIns="2160000"/>
          <a:lstStyle>
            <a:lvl1pPr algn="ctr">
              <a:buNone/>
              <a:defRPr>
                <a:solidFill>
                  <a:schemeClr val="bg1"/>
                </a:solidFill>
              </a:defRPr>
            </a:lvl1pPr>
          </a:lstStyle>
          <a:p>
            <a:r>
              <a:rPr lang="en-US" dirty="0"/>
              <a:t>Do not rescale image placeholder.</a:t>
            </a:r>
            <a:endParaRPr lang="en-GB" dirty="0"/>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9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00" y="5799137"/>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329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59" y="1395413"/>
            <a:ext cx="4119682" cy="4560887"/>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8" name="Text Placeholder 13"/>
          <p:cNvSpPr>
            <a:spLocks noGrp="1"/>
          </p:cNvSpPr>
          <p:nvPr>
            <p:ph type="body" sz="quarter" idx="17" hasCustomPrompt="1"/>
          </p:nvPr>
        </p:nvSpPr>
        <p:spPr bwMode="gray">
          <a:xfrm>
            <a:off x="360736"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60736" y="6265909"/>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hasCustomPrompt="1"/>
          </p:nvPr>
        </p:nvSpPr>
        <p:spPr bwMode="gray">
          <a:xfrm>
            <a:off x="4671689" y="1395413"/>
            <a:ext cx="4113860" cy="4560887"/>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15" name="Text Placeholder 13"/>
          <p:cNvSpPr>
            <a:spLocks noGrp="1"/>
          </p:cNvSpPr>
          <p:nvPr>
            <p:ph type="body" sz="quarter" idx="20" hasCustomPrompt="1"/>
          </p:nvPr>
        </p:nvSpPr>
        <p:spPr bwMode="gray">
          <a:xfrm>
            <a:off x="4656786"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56786"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hasCustomPrompt="1"/>
          </p:nvPr>
        </p:nvSpPr>
        <p:spPr bwMode="gray">
          <a:xfrm>
            <a:off x="8946441" y="1395413"/>
            <a:ext cx="4130268" cy="4560887"/>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18" name="Text Placeholder 13"/>
          <p:cNvSpPr>
            <a:spLocks noGrp="1"/>
          </p:cNvSpPr>
          <p:nvPr>
            <p:ph type="body" sz="quarter" idx="23" hasCustomPrompt="1"/>
          </p:nvPr>
        </p:nvSpPr>
        <p:spPr bwMode="gray">
          <a:xfrm>
            <a:off x="8911094"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11094"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432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60" y="1704525"/>
            <a:ext cx="1992098" cy="2312710"/>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Text Placeholder 13"/>
          <p:cNvSpPr>
            <a:spLocks noGrp="1"/>
          </p:cNvSpPr>
          <p:nvPr>
            <p:ph type="body" sz="quarter" idx="17" hasCustomPrompt="1"/>
          </p:nvPr>
        </p:nvSpPr>
        <p:spPr bwMode="gray">
          <a:xfrm>
            <a:off x="381060" y="4134929"/>
            <a:ext cx="1992098" cy="248390"/>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5" name="Text Placeholder 13"/>
          <p:cNvSpPr>
            <a:spLocks noGrp="1"/>
          </p:cNvSpPr>
          <p:nvPr>
            <p:ph type="body" sz="quarter" idx="18" hasCustomPrompt="1"/>
          </p:nvPr>
        </p:nvSpPr>
        <p:spPr bwMode="gray">
          <a:xfrm>
            <a:off x="381061" y="4312382"/>
            <a:ext cx="1987378"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7" name="Picture Placeholder 13"/>
          <p:cNvSpPr>
            <a:spLocks noGrp="1"/>
          </p:cNvSpPr>
          <p:nvPr>
            <p:ph type="pic" sz="quarter" idx="19" hasCustomPrompt="1"/>
          </p:nvPr>
        </p:nvSpPr>
        <p:spPr bwMode="gray">
          <a:xfrm>
            <a:off x="2531931" y="2806107"/>
            <a:ext cx="1992314" cy="2316354"/>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28" name="Text Placeholder 13"/>
          <p:cNvSpPr>
            <a:spLocks noGrp="1"/>
          </p:cNvSpPr>
          <p:nvPr>
            <p:ph type="body" sz="quarter" idx="20" hasCustomPrompt="1"/>
          </p:nvPr>
        </p:nvSpPr>
        <p:spPr bwMode="gray">
          <a:xfrm>
            <a:off x="2531931" y="5245685"/>
            <a:ext cx="1964145"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21" hasCustomPrompt="1"/>
          </p:nvPr>
        </p:nvSpPr>
        <p:spPr bwMode="gray">
          <a:xfrm>
            <a:off x="2531931" y="5423137"/>
            <a:ext cx="1964145"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1" name="Picture Placeholder 13"/>
          <p:cNvSpPr>
            <a:spLocks noGrp="1"/>
          </p:cNvSpPr>
          <p:nvPr>
            <p:ph type="pic" sz="quarter" idx="22" hasCustomPrompt="1"/>
          </p:nvPr>
        </p:nvSpPr>
        <p:spPr bwMode="gray">
          <a:xfrm>
            <a:off x="4670101" y="1704527"/>
            <a:ext cx="1992314" cy="2312709"/>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32" name="Text Placeholder 13"/>
          <p:cNvSpPr>
            <a:spLocks noGrp="1"/>
          </p:cNvSpPr>
          <p:nvPr>
            <p:ph type="body" sz="quarter" idx="23" hasCustomPrompt="1"/>
          </p:nvPr>
        </p:nvSpPr>
        <p:spPr bwMode="gray">
          <a:xfrm>
            <a:off x="4670102" y="4134929"/>
            <a:ext cx="1989981"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24" hasCustomPrompt="1"/>
          </p:nvPr>
        </p:nvSpPr>
        <p:spPr bwMode="gray">
          <a:xfrm>
            <a:off x="4670102" y="4312382"/>
            <a:ext cx="1989981"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5" name="Picture Placeholder 13"/>
          <p:cNvSpPr>
            <a:spLocks noGrp="1"/>
          </p:cNvSpPr>
          <p:nvPr>
            <p:ph type="pic" sz="quarter" idx="25" hasCustomPrompt="1"/>
          </p:nvPr>
        </p:nvSpPr>
        <p:spPr bwMode="gray">
          <a:xfrm>
            <a:off x="6804489" y="2806107"/>
            <a:ext cx="1981061" cy="2316354"/>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36" name="Text Placeholder 13"/>
          <p:cNvSpPr>
            <a:spLocks noGrp="1"/>
          </p:cNvSpPr>
          <p:nvPr>
            <p:ph type="body" sz="quarter" idx="26" hasCustomPrompt="1"/>
          </p:nvPr>
        </p:nvSpPr>
        <p:spPr bwMode="gray">
          <a:xfrm>
            <a:off x="6804489" y="5245685"/>
            <a:ext cx="1981061"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27" hasCustomPrompt="1"/>
          </p:nvPr>
        </p:nvSpPr>
        <p:spPr bwMode="gray">
          <a:xfrm>
            <a:off x="6804489" y="5423138"/>
            <a:ext cx="1981061"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28" hasCustomPrompt="1"/>
          </p:nvPr>
        </p:nvSpPr>
        <p:spPr bwMode="gray">
          <a:xfrm>
            <a:off x="8946441" y="1704525"/>
            <a:ext cx="1992314" cy="2312710"/>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40" name="Text Placeholder 13"/>
          <p:cNvSpPr>
            <a:spLocks noGrp="1"/>
          </p:cNvSpPr>
          <p:nvPr>
            <p:ph type="body" sz="quarter" idx="29" hasCustomPrompt="1"/>
          </p:nvPr>
        </p:nvSpPr>
        <p:spPr bwMode="gray">
          <a:xfrm>
            <a:off x="8946441" y="4133355"/>
            <a:ext cx="1985747"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0" hasCustomPrompt="1"/>
          </p:nvPr>
        </p:nvSpPr>
        <p:spPr bwMode="gray">
          <a:xfrm>
            <a:off x="8946441" y="4310808"/>
            <a:ext cx="1985747"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3" name="Picture Placeholder 13"/>
          <p:cNvSpPr>
            <a:spLocks noGrp="1"/>
          </p:cNvSpPr>
          <p:nvPr>
            <p:ph type="pic" sz="quarter" idx="31" hasCustomPrompt="1"/>
          </p:nvPr>
        </p:nvSpPr>
        <p:spPr bwMode="gray">
          <a:xfrm>
            <a:off x="11097313" y="2804534"/>
            <a:ext cx="1992314" cy="2335342"/>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44" name="Text Placeholder 13"/>
          <p:cNvSpPr>
            <a:spLocks noGrp="1"/>
          </p:cNvSpPr>
          <p:nvPr>
            <p:ph type="body" sz="quarter" idx="32" hasCustomPrompt="1"/>
          </p:nvPr>
        </p:nvSpPr>
        <p:spPr bwMode="gray">
          <a:xfrm>
            <a:off x="11097313" y="5244110"/>
            <a:ext cx="1979397"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3" hasCustomPrompt="1"/>
          </p:nvPr>
        </p:nvSpPr>
        <p:spPr bwMode="gray">
          <a:xfrm>
            <a:off x="11097313" y="5421563"/>
            <a:ext cx="1979397"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534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59" y="1946276"/>
            <a:ext cx="4145086" cy="2655888"/>
          </a:xfrm>
          <a:solidFill>
            <a:schemeClr val="accent5">
              <a:lumMod val="60000"/>
              <a:lumOff val="40000"/>
            </a:schemeClr>
          </a:solidFill>
        </p:spPr>
        <p:txBody>
          <a:bodyPr tIns="720000"/>
          <a:lstStyle>
            <a:lvl1pPr algn="ctr">
              <a:buNone/>
              <a:defRPr>
                <a:solidFill>
                  <a:schemeClr val="bg1"/>
                </a:solidFill>
              </a:defRPr>
            </a:lvl1pPr>
          </a:lstStyle>
          <a:p>
            <a:r>
              <a:rPr lang="en-US" dirty="0"/>
              <a:t>Do not rescale image placeholder. Black and white imagery only</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8" name="Text Placeholder 13"/>
          <p:cNvSpPr>
            <a:spLocks noGrp="1"/>
          </p:cNvSpPr>
          <p:nvPr>
            <p:ph type="body" sz="quarter" idx="17" hasCustomPrompt="1"/>
          </p:nvPr>
        </p:nvSpPr>
        <p:spPr bwMode="gray">
          <a:xfrm>
            <a:off x="376317" y="4695144"/>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4872593"/>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hasCustomPrompt="1"/>
          </p:nvPr>
        </p:nvSpPr>
        <p:spPr bwMode="gray">
          <a:xfrm>
            <a:off x="4681696" y="1946276"/>
            <a:ext cx="4103854" cy="2655888"/>
          </a:xfrm>
          <a:solidFill>
            <a:schemeClr val="accent5">
              <a:lumMod val="60000"/>
              <a:lumOff val="40000"/>
            </a:schemeClr>
          </a:solidFill>
        </p:spPr>
        <p:txBody>
          <a:bodyPr tIns="720000"/>
          <a:lstStyle>
            <a:lvl1pPr algn="ctr">
              <a:buNone/>
              <a:defRPr>
                <a:solidFill>
                  <a:schemeClr val="bg1"/>
                </a:solidFill>
              </a:defRPr>
            </a:lvl1pPr>
          </a:lstStyle>
          <a:p>
            <a:r>
              <a:rPr lang="en-US" dirty="0"/>
              <a:t>Do not rescale image placeholder. Black and white imagery only</a:t>
            </a:r>
            <a:endParaRPr lang="en-GB" dirty="0"/>
          </a:p>
        </p:txBody>
      </p:sp>
      <p:sp>
        <p:nvSpPr>
          <p:cNvPr id="15" name="Text Placeholder 13"/>
          <p:cNvSpPr>
            <a:spLocks noGrp="1"/>
          </p:cNvSpPr>
          <p:nvPr>
            <p:ph type="body" sz="quarter" idx="20" hasCustomPrompt="1"/>
          </p:nvPr>
        </p:nvSpPr>
        <p:spPr bwMode="gray">
          <a:xfrm>
            <a:off x="4676954" y="4695144"/>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4872593"/>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hasCustomPrompt="1"/>
          </p:nvPr>
        </p:nvSpPr>
        <p:spPr bwMode="gray">
          <a:xfrm>
            <a:off x="8946441" y="1946276"/>
            <a:ext cx="4130268" cy="2655888"/>
          </a:xfrm>
          <a:solidFill>
            <a:schemeClr val="accent5">
              <a:lumMod val="60000"/>
              <a:lumOff val="40000"/>
            </a:schemeClr>
          </a:solidFill>
        </p:spPr>
        <p:txBody>
          <a:bodyPr tIns="720000"/>
          <a:lstStyle>
            <a:lvl1pPr algn="ctr">
              <a:buNone/>
              <a:defRPr>
                <a:solidFill>
                  <a:schemeClr val="bg1"/>
                </a:solidFill>
              </a:defRPr>
            </a:lvl1pPr>
          </a:lstStyle>
          <a:p>
            <a:r>
              <a:rPr lang="en-US" dirty="0"/>
              <a:t>Do not rescale image placeholder. Black and white imagery only</a:t>
            </a:r>
            <a:endParaRPr lang="en-GB" dirty="0"/>
          </a:p>
        </p:txBody>
      </p:sp>
      <p:sp>
        <p:nvSpPr>
          <p:cNvPr id="18" name="Text Placeholder 13"/>
          <p:cNvSpPr>
            <a:spLocks noGrp="1"/>
          </p:cNvSpPr>
          <p:nvPr>
            <p:ph type="body" sz="quarter" idx="23" hasCustomPrompt="1"/>
          </p:nvPr>
        </p:nvSpPr>
        <p:spPr bwMode="gray">
          <a:xfrm>
            <a:off x="8941699" y="4695144"/>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4872593"/>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468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13"/>
          <p:cNvSpPr>
            <a:spLocks noGrp="1"/>
          </p:cNvSpPr>
          <p:nvPr>
            <p:ph type="body" sz="quarter" idx="27" hasCustomPrompt="1"/>
          </p:nvPr>
        </p:nvSpPr>
        <p:spPr bwMode="gray">
          <a:xfrm>
            <a:off x="4683308"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7" name="Text Placeholder 13"/>
          <p:cNvSpPr>
            <a:spLocks noGrp="1"/>
          </p:cNvSpPr>
          <p:nvPr>
            <p:ph type="body" sz="quarter" idx="28" hasCustomPrompt="1"/>
          </p:nvPr>
        </p:nvSpPr>
        <p:spPr bwMode="gray">
          <a:xfrm>
            <a:off x="4683308" y="1590998"/>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8" name="Text Placeholder 13"/>
          <p:cNvSpPr>
            <a:spLocks noGrp="1"/>
          </p:cNvSpPr>
          <p:nvPr>
            <p:ph type="body" sz="quarter" idx="29" hasCustomPrompt="1"/>
          </p:nvPr>
        </p:nvSpPr>
        <p:spPr bwMode="gray">
          <a:xfrm>
            <a:off x="8856323"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9" name="Text Placeholder 13"/>
          <p:cNvSpPr>
            <a:spLocks noGrp="1"/>
          </p:cNvSpPr>
          <p:nvPr>
            <p:ph type="body" sz="quarter" idx="30" hasCustomPrompt="1"/>
          </p:nvPr>
        </p:nvSpPr>
        <p:spPr bwMode="gray">
          <a:xfrm>
            <a:off x="8856323" y="1589424"/>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636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7" name="Picture Placeholder 13"/>
          <p:cNvSpPr>
            <a:spLocks noGrp="1"/>
          </p:cNvSpPr>
          <p:nvPr>
            <p:ph type="pic" sz="quarter" idx="22" hasCustomPrompt="1"/>
          </p:nvPr>
        </p:nvSpPr>
        <p:spPr bwMode="gray">
          <a:xfrm>
            <a:off x="6803621" y="1946275"/>
            <a:ext cx="4128567" cy="2655889"/>
          </a:xfrm>
          <a:solidFill>
            <a:schemeClr val="accent5">
              <a:lumMod val="60000"/>
              <a:lumOff val="40000"/>
            </a:schemeClr>
          </a:solidFill>
        </p:spPr>
        <p:txBody>
          <a:bodyPr tIns="1080000"/>
          <a:lstStyle>
            <a:lvl1pPr algn="ctr">
              <a:buNone/>
              <a:defRPr sz="1600">
                <a:solidFill>
                  <a:schemeClr val="bg1"/>
                </a:solidFill>
              </a:defRPr>
            </a:lvl1pPr>
          </a:lstStyle>
          <a:p>
            <a:r>
              <a:rPr lang="en-US" dirty="0"/>
              <a:t>Do not rescale image placeholder. Black and white imagery only</a:t>
            </a:r>
            <a:endParaRPr lang="en-GB" dirty="0"/>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hasCustomPrompt="1"/>
          </p:nvPr>
        </p:nvSpPr>
        <p:spPr bwMode="gray">
          <a:xfrm>
            <a:off x="3613870" y="1946276"/>
            <a:ext cx="3046212" cy="3749675"/>
          </a:xfrm>
          <a:solidFill>
            <a:schemeClr val="accent5">
              <a:lumMod val="60000"/>
              <a:lumOff val="40000"/>
            </a:schemeClr>
          </a:solidFill>
        </p:spPr>
        <p:txBody>
          <a:bodyPr tIns="1080000"/>
          <a:lstStyle>
            <a:lvl1pPr algn="ctr">
              <a:buNone/>
              <a:defRPr sz="1600">
                <a:solidFill>
                  <a:schemeClr val="bg1"/>
                </a:solidFill>
              </a:defRPr>
            </a:lvl1pPr>
          </a:lstStyle>
          <a:p>
            <a:r>
              <a:rPr lang="en-US" dirty="0"/>
              <a:t>Do not rescale image placeholder. Black and white imagery only</a:t>
            </a:r>
            <a:endParaRPr lang="en-GB" dirty="0"/>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hasCustomPrompt="1"/>
          </p:nvPr>
        </p:nvSpPr>
        <p:spPr bwMode="gray">
          <a:xfrm>
            <a:off x="11097315" y="1946276"/>
            <a:ext cx="1979396" cy="1547812"/>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31" name="Picture Placeholder 13"/>
          <p:cNvSpPr>
            <a:spLocks noGrp="1"/>
          </p:cNvSpPr>
          <p:nvPr>
            <p:ph type="pic" sz="quarter" idx="28" hasCustomPrompt="1"/>
          </p:nvPr>
        </p:nvSpPr>
        <p:spPr bwMode="gray">
          <a:xfrm>
            <a:off x="11072191" y="4102376"/>
            <a:ext cx="1979396" cy="1593574"/>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hasCustomPrompt="1"/>
          </p:nvPr>
        </p:nvSpPr>
        <p:spPr bwMode="gray">
          <a:xfrm>
            <a:off x="392654" y="4102374"/>
            <a:ext cx="3055940" cy="1593577"/>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hasCustomPrompt="1"/>
          </p:nvPr>
        </p:nvSpPr>
        <p:spPr bwMode="gray">
          <a:xfrm>
            <a:off x="392654" y="1946278"/>
            <a:ext cx="3055940" cy="1547810"/>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841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6802438"/>
          </a:xfrm>
          <a:solidFill>
            <a:schemeClr val="accent5">
              <a:lumMod val="60000"/>
              <a:lumOff val="40000"/>
            </a:schemeClr>
          </a:solidFill>
        </p:spPr>
        <p:txBody>
          <a:bodyPr tIns="2520000" anchor="t"/>
          <a:lstStyle>
            <a:lvl1pPr algn="ctr">
              <a:buNone/>
              <a:defRPr>
                <a:solidFill>
                  <a:schemeClr val="bg1"/>
                </a:solidFill>
              </a:defRPr>
            </a:lvl1pPr>
          </a:lstStyle>
          <a:p>
            <a:r>
              <a:rPr lang="en-US" dirty="0"/>
              <a:t>Click icon to add picture</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6" name="Picture Placeholder 13"/>
          <p:cNvSpPr>
            <a:spLocks noGrp="1"/>
          </p:cNvSpPr>
          <p:nvPr>
            <p:ph type="pic" sz="quarter" idx="17"/>
          </p:nvPr>
        </p:nvSpPr>
        <p:spPr bwMode="gray">
          <a:xfrm>
            <a:off x="2531933" y="6917309"/>
            <a:ext cx="879606" cy="405148"/>
          </a:xfrm>
        </p:spPr>
        <p:txBody>
          <a:bodyPr/>
          <a:lstStyle>
            <a:lvl1pPr>
              <a:lnSpc>
                <a:spcPct val="100000"/>
              </a:lnSpc>
              <a:buNone/>
              <a:defRPr sz="700">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3601441" y="6917309"/>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4670950" y="6917309"/>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5740458" y="6917309"/>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cxnSp>
        <p:nvCxnSpPr>
          <p:cNvPr id="29" name="Straight Connector 28"/>
          <p:cNvCxnSpPr/>
          <p:nvPr userDrawn="1"/>
        </p:nvCxnSpPr>
        <p:spPr bwMode="gray">
          <a:xfrm>
            <a:off x="1" y="6792023"/>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2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13" name="Pictur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944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400">
                <a:solidFill>
                  <a:schemeClr val="bg1"/>
                </a:solidFill>
              </a:defRPr>
            </a:lvl1pPr>
          </a:lstStyle>
          <a:p>
            <a:r>
              <a:rPr lang="en-US" dirty="0"/>
              <a:t>Click icon to add picture</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6" name="Picture Placeholder 13"/>
          <p:cNvSpPr>
            <a:spLocks noGrp="1"/>
          </p:cNvSpPr>
          <p:nvPr>
            <p:ph type="pic" sz="quarter" idx="17"/>
          </p:nvPr>
        </p:nvSpPr>
        <p:spPr bwMode="gray">
          <a:xfrm>
            <a:off x="2531932" y="6918217"/>
            <a:ext cx="916662" cy="405148"/>
          </a:xfrm>
        </p:spPr>
        <p:txBody>
          <a:bodyPr/>
          <a:lstStyle>
            <a:lvl1pPr>
              <a:lnSpc>
                <a:spcPct val="100000"/>
              </a:lnSpc>
              <a:buNone/>
              <a:defRPr sz="700">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3609487" y="6918217"/>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4678988" y="6918217"/>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5721679" y="6918217"/>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4"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148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hasCustomPrompt="1"/>
          </p:nvPr>
        </p:nvSpPr>
        <p:spPr bwMode="gray">
          <a:xfrm>
            <a:off x="1" y="1"/>
            <a:ext cx="13442950" cy="7561263"/>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251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7" name="Media Placeholder 46"/>
          <p:cNvSpPr>
            <a:spLocks noGrp="1"/>
          </p:cNvSpPr>
          <p:nvPr>
            <p:ph type="media" sz="quarter" idx="10" hasCustomPrompt="1"/>
          </p:nvPr>
        </p:nvSpPr>
        <p:spPr bwMode="gray">
          <a:xfrm>
            <a:off x="2531932" y="1395413"/>
            <a:ext cx="8400256" cy="4854575"/>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7"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353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hasCustomPrompt="1"/>
          </p:nvPr>
        </p:nvSpPr>
        <p:spPr bwMode="gray">
          <a:xfrm>
            <a:off x="-1" y="457775"/>
            <a:ext cx="13442950" cy="5856983"/>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4" name="Straight Connector 3"/>
          <p:cNvCxnSpPr/>
          <p:nvPr userDrawn="1"/>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hasCustomPrompt="1"/>
          </p:nvPr>
        </p:nvSpPr>
        <p:spPr bwMode="gray">
          <a:xfrm>
            <a:off x="-1" y="852140"/>
            <a:ext cx="13442950" cy="5856983"/>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21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00" y="5799137"/>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456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47" name="Media Placeholder 46"/>
          <p:cNvSpPr>
            <a:spLocks noGrp="1"/>
          </p:cNvSpPr>
          <p:nvPr>
            <p:ph type="media" sz="quarter" idx="10" hasCustomPrompt="1"/>
          </p:nvPr>
        </p:nvSpPr>
        <p:spPr bwMode="gray">
          <a:xfrm>
            <a:off x="376755" y="1395414"/>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7" name="Media Placeholder 46"/>
          <p:cNvSpPr>
            <a:spLocks noGrp="1"/>
          </p:cNvSpPr>
          <p:nvPr>
            <p:ph type="media" sz="quarter" idx="16" hasCustomPrompt="1"/>
          </p:nvPr>
        </p:nvSpPr>
        <p:spPr bwMode="gray">
          <a:xfrm>
            <a:off x="4665329" y="1395414"/>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8" name="Media Placeholder 46"/>
          <p:cNvSpPr>
            <a:spLocks noGrp="1"/>
          </p:cNvSpPr>
          <p:nvPr>
            <p:ph type="media" sz="quarter" idx="17" hasCustomPrompt="1"/>
          </p:nvPr>
        </p:nvSpPr>
        <p:spPr bwMode="gray">
          <a:xfrm>
            <a:off x="8953903" y="1395414"/>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11" name="Media Placeholder 46"/>
          <p:cNvSpPr>
            <a:spLocks noGrp="1"/>
          </p:cNvSpPr>
          <p:nvPr>
            <p:ph type="media" sz="quarter" idx="18" hasCustomPrompt="1"/>
          </p:nvPr>
        </p:nvSpPr>
        <p:spPr bwMode="gray">
          <a:xfrm>
            <a:off x="376755" y="3925760"/>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13" name="Media Placeholder 46"/>
          <p:cNvSpPr>
            <a:spLocks noGrp="1"/>
          </p:cNvSpPr>
          <p:nvPr>
            <p:ph type="media" sz="quarter" idx="19" hasCustomPrompt="1"/>
          </p:nvPr>
        </p:nvSpPr>
        <p:spPr bwMode="gray">
          <a:xfrm>
            <a:off x="4665329" y="3925760"/>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14" name="Media Placeholder 46"/>
          <p:cNvSpPr>
            <a:spLocks noGrp="1"/>
          </p:cNvSpPr>
          <p:nvPr>
            <p:ph type="media" sz="quarter" idx="20" hasCustomPrompt="1"/>
          </p:nvPr>
        </p:nvSpPr>
        <p:spPr bwMode="gray">
          <a:xfrm>
            <a:off x="8953903" y="3925760"/>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558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hasCustomPrompt="1"/>
          </p:nvPr>
        </p:nvSpPr>
        <p:spPr bwMode="gray">
          <a:xfrm>
            <a:off x="381060" y="1395414"/>
            <a:ext cx="12695650" cy="5407025"/>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16" name="Straight Connector 15"/>
          <p:cNvCxnSpPr>
            <a:stCxn id="15" idx="1"/>
            <a:endCxn id="15" idx="3"/>
          </p:cNvCxnSpPr>
          <p:nvPr userDrawn="1"/>
        </p:nvCxnSpPr>
        <p:spPr bwMode="gray">
          <a:xfrm>
            <a:off x="1" y="6802438"/>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763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865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968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070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38614" y="344821"/>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172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42610" y="344893"/>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3877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End P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3777" name="think-cell Slide" r:id="rId4" imgW="6350000" imgH="6350000" progId="">
                  <p:embed/>
                </p:oleObj>
              </mc:Choice>
              <mc:Fallback>
                <p:oleObj name="think-cell Slide" r:id="rId4" imgW="6350000" imgH="6350000" progId="">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bwMode="gray">
          <a:xfrm>
            <a:off x="365918" y="5103814"/>
            <a:ext cx="12331696" cy="709383"/>
          </a:xfrm>
        </p:spPr>
        <p:txBody>
          <a:bodyPr wrap="square" anchor="t" anchorCtr="0"/>
          <a:lstStyle>
            <a:lvl1pPr algn="l">
              <a:lnSpc>
                <a:spcPts val="6000"/>
              </a:lnSpc>
              <a:defRPr sz="6600"/>
            </a:lvl1pPr>
          </a:lstStyle>
          <a:p>
            <a:r>
              <a:rPr lang="en-US" dirty="0"/>
              <a:t>THANK YOU</a:t>
            </a:r>
          </a:p>
        </p:txBody>
      </p:sp>
      <p:sp>
        <p:nvSpPr>
          <p:cNvPr id="8" name="Picture Placeholder 10"/>
          <p:cNvSpPr>
            <a:spLocks noGrp="1"/>
          </p:cNvSpPr>
          <p:nvPr>
            <p:ph type="pic" sz="quarter" idx="16"/>
          </p:nvPr>
        </p:nvSpPr>
        <p:spPr bwMode="gray">
          <a:xfrm>
            <a:off x="1" y="7"/>
            <a:ext cx="13442950" cy="4560250"/>
          </a:xfrm>
          <a:solidFill>
            <a:schemeClr val="accent5"/>
          </a:solidFill>
          <a:ln>
            <a:noFill/>
          </a:ln>
        </p:spPr>
        <p:txBody>
          <a:bodyPr tIns="1440000" anchor="t" anchorCtr="0"/>
          <a:lstStyle>
            <a:lvl1pPr algn="ctr">
              <a:buNone/>
              <a:defRPr>
                <a:solidFill>
                  <a:srgbClr val="000000"/>
                </a:solidFill>
              </a:defRPr>
            </a:lvl1pPr>
          </a:lstStyle>
          <a:p>
            <a:r>
              <a:rPr lang="en-US"/>
              <a:t>Click icon to add picture</a:t>
            </a:r>
            <a:endParaRPr lang="en-US" dirty="0"/>
          </a:p>
        </p:txBody>
      </p:sp>
    </p:spTree>
    <p:extLst>
      <p:ext uri="{BB962C8B-B14F-4D97-AF65-F5344CB8AC3E}">
        <p14:creationId xmlns:p14="http://schemas.microsoft.com/office/powerpoint/2010/main" val="1471005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7684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1458614" y="1404921"/>
            <a:ext cx="10555362" cy="4291030"/>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246345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77873"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4" name="Text Placeholder 3"/>
          <p:cNvSpPr>
            <a:spLocks noGrp="1"/>
          </p:cNvSpPr>
          <p:nvPr>
            <p:ph type="body" sz="quarter" idx="10" hasCustomPrompt="1"/>
          </p:nvPr>
        </p:nvSpPr>
        <p:spPr bwMode="gray">
          <a:xfrm>
            <a:off x="1458615" y="1404921"/>
            <a:ext cx="10555363" cy="4291030"/>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2076705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24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4708" y="5799575"/>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78897"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1"/>
            <a:ext cx="10555362" cy="4291030"/>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920361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79921"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3"/>
            <a:ext cx="10555362" cy="4300537"/>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26716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80945"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Text Placeholder 3"/>
          <p:cNvSpPr>
            <a:spLocks noGrp="1"/>
          </p:cNvSpPr>
          <p:nvPr>
            <p:ph type="body" sz="quarter" idx="10" hasCustomPrompt="1"/>
          </p:nvPr>
        </p:nvSpPr>
        <p:spPr bwMode="gray">
          <a:xfrm>
            <a:off x="1458614" y="1395413"/>
            <a:ext cx="10555362" cy="4300537"/>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3610075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81969"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5" y="1404921"/>
            <a:ext cx="10555363" cy="4291030"/>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4181834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1" y="7"/>
            <a:ext cx="13442950" cy="681671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sp>
        <p:nvSpPr>
          <p:cNvPr id="4" name="Text Placeholder 3"/>
          <p:cNvSpPr>
            <a:spLocks noGrp="1"/>
          </p:cNvSpPr>
          <p:nvPr>
            <p:ph type="body" sz="quarter" idx="10" hasCustomPrompt="1"/>
          </p:nvPr>
        </p:nvSpPr>
        <p:spPr bwMode="gray">
          <a:xfrm>
            <a:off x="1458615" y="1404921"/>
            <a:ext cx="10555363" cy="4291030"/>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4002743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3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82993"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rgbClr val="EA576C"/>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5" y="1404921"/>
            <a:ext cx="10555363" cy="4291030"/>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1442951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84017"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3"/>
            <a:ext cx="10555362" cy="4300537"/>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438629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85041"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5" y="1395415"/>
            <a:ext cx="10555363" cy="4300537"/>
          </a:xfrm>
          <a:ln w="6350" cmpd="sng">
            <a:noFill/>
            <a:prstDash val="lgDash"/>
          </a:ln>
        </p:spPr>
        <p:txBody>
          <a:bodyPr anchor="ctr" anchorCtr="1"/>
          <a:lstStyle>
            <a:lvl1pPr algn="ctr">
              <a:lnSpc>
                <a:spcPts val="6599"/>
              </a:lnSpc>
              <a:buNone/>
              <a:defRPr sz="6599" b="0" cap="all" baseline="0">
                <a:solidFill>
                  <a:srgbClr val="FFFFFF"/>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1289296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86065"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5"/>
            <a:ext cx="10555362" cy="4300537"/>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3265683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7"/>
            <a:ext cx="13442950" cy="6816719"/>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sp>
        <p:nvSpPr>
          <p:cNvPr id="4" name="Text Placeholder 3"/>
          <p:cNvSpPr>
            <a:spLocks noGrp="1"/>
          </p:cNvSpPr>
          <p:nvPr>
            <p:ph type="body" sz="quarter" idx="10" hasCustomPrompt="1"/>
          </p:nvPr>
        </p:nvSpPr>
        <p:spPr bwMode="gray">
          <a:xfrm>
            <a:off x="1458614" y="1395415"/>
            <a:ext cx="10555362" cy="4300537"/>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1392264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26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3247" y="5799575"/>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B5849-9170-45E6-8B17-0C6AB28560CA}"/>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91E5149-8DB0-46AF-B6EC-0DC9E1023FD4}"/>
              </a:ext>
            </a:extLst>
          </p:cNvPr>
          <p:cNvSpPr>
            <a:spLocks noGrp="1"/>
          </p:cNvSpPr>
          <p:nvPr>
            <p:ph type="dt" sz="half" idx="10"/>
          </p:nvPr>
        </p:nvSpPr>
        <p:spPr/>
        <p:txBody>
          <a:bodyPr/>
          <a:lstStyle/>
          <a:p>
            <a:fld id="{F128B0F6-A883-4665-B699-C1EA9F3E5937}" type="datetimeFigureOut">
              <a:rPr lang="en-GB" smtClean="0"/>
              <a:t>07/01/2022</a:t>
            </a:fld>
            <a:endParaRPr lang="en-GB"/>
          </a:p>
        </p:txBody>
      </p:sp>
      <p:sp>
        <p:nvSpPr>
          <p:cNvPr id="4" name="Footer Placeholder 3">
            <a:extLst>
              <a:ext uri="{FF2B5EF4-FFF2-40B4-BE49-F238E27FC236}">
                <a16:creationId xmlns:a16="http://schemas.microsoft.com/office/drawing/2014/main" id="{DE45E549-9552-498A-AD91-80D96D12A2B3}"/>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9E4AFC5-63B7-4DA5-9CB9-9A7FFFFFA9D0}"/>
              </a:ext>
            </a:extLst>
          </p:cNvPr>
          <p:cNvSpPr>
            <a:spLocks noGrp="1"/>
          </p:cNvSpPr>
          <p:nvPr>
            <p:ph type="sldNum" sz="quarter" idx="12"/>
          </p:nvPr>
        </p:nvSpPr>
        <p:spPr/>
        <p:txBody>
          <a:bodyPr/>
          <a:lstStyle/>
          <a:p>
            <a:fld id="{672353F4-4D0A-4965-8C8F-CBECCE7B8296}" type="slidenum">
              <a:rPr lang="en-GB" smtClean="0"/>
              <a:t>‹#›</a:t>
            </a:fld>
            <a:endParaRPr lang="en-GB"/>
          </a:p>
        </p:txBody>
      </p:sp>
    </p:spTree>
    <p:extLst>
      <p:ext uri="{BB962C8B-B14F-4D97-AF65-F5344CB8AC3E}">
        <p14:creationId xmlns:p14="http://schemas.microsoft.com/office/powerpoint/2010/main" val="425949541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811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11" name="Picture 10"/>
          <p:cNvPicPr>
            <a:picLocks noChangeAspect="1"/>
          </p:cNvPicPr>
          <p:nvPr userDrawn="1"/>
        </p:nvPicPr>
        <p:blipFill rotWithShape="1">
          <a:blip r:embed="rId6" cstate="print">
            <a:extLst>
              <a:ext uri="{28A0092B-C50C-407E-A947-70E740481C1C}">
                <a14:useLocalDpi xmlns:a14="http://schemas.microsoft.com/office/drawing/2010/main" val="0"/>
              </a:ext>
            </a:extLst>
          </a:blip>
          <a:srcRect l="2459" t="3595" r="68462" b="84596"/>
          <a:stretch/>
        </p:blipFill>
        <p:spPr>
          <a:xfrm>
            <a:off x="0" y="195941"/>
            <a:ext cx="3545263" cy="809897"/>
          </a:xfrm>
          <a:prstGeom prst="rect">
            <a:avLst/>
          </a:prstGeom>
        </p:spPr>
      </p:pic>
    </p:spTree>
    <p:extLst>
      <p:ext uri="{BB962C8B-B14F-4D97-AF65-F5344CB8AC3E}">
        <p14:creationId xmlns:p14="http://schemas.microsoft.com/office/powerpoint/2010/main" val="2640274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913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13" name="Picture 12"/>
          <p:cNvPicPr>
            <a:picLocks noChangeAspect="1"/>
          </p:cNvPicPr>
          <p:nvPr userDrawn="1"/>
        </p:nvPicPr>
        <p:blipFill rotWithShape="1">
          <a:blip r:embed="rId6" cstate="print">
            <a:alphaModFix/>
            <a:extLst>
              <a:ext uri="{28A0092B-C50C-407E-A947-70E740481C1C}">
                <a14:useLocalDpi xmlns:a14="http://schemas.microsoft.com/office/drawing/2010/main" val="0"/>
              </a:ext>
            </a:extLst>
          </a:blip>
          <a:srcRect l="2459" t="6436" r="69250" b="88379"/>
          <a:stretch/>
        </p:blipFill>
        <p:spPr>
          <a:xfrm>
            <a:off x="0" y="390524"/>
            <a:ext cx="3449240" cy="355601"/>
          </a:xfrm>
          <a:prstGeom prst="rect">
            <a:avLst/>
          </a:prstGeom>
        </p:spPr>
      </p:pic>
    </p:spTree>
    <p:extLst>
      <p:ext uri="{BB962C8B-B14F-4D97-AF65-F5344CB8AC3E}">
        <p14:creationId xmlns:p14="http://schemas.microsoft.com/office/powerpoint/2010/main" val="2866411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016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4"/>
            <a:ext cx="12507236" cy="5405437"/>
          </a:xfrm>
          <a:prstGeom prst="rect">
            <a:avLst/>
          </a:prstGeo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3"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2" y="2512932"/>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527246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1185"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1" y="137245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1" y="157733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6" y="1902928"/>
            <a:ext cx="5235067"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1" y="1902928"/>
            <a:ext cx="5232045"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62250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220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951971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323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312842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4257"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8" y="2461174"/>
            <a:ext cx="5238453"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5" y="136229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5" y="156717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8630"/>
            <a:ext cx="5236703"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665641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5281"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8"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8"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7"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7"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5"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5"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5" y="2458635"/>
            <a:ext cx="4133323"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68" y="2459740"/>
            <a:ext cx="4124127"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461389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630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09"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09"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6" y="2467962"/>
            <a:ext cx="4169765" cy="102612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0" y="3548040"/>
            <a:ext cx="4169765" cy="1054123"/>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2" y="2458714"/>
            <a:ext cx="4128151" cy="1035374"/>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6" y="3559767"/>
            <a:ext cx="4113557" cy="104239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184750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8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4708" y="5802738"/>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732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2" y="2467962"/>
            <a:ext cx="4162147"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7" y="3548040"/>
            <a:ext cx="415942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59"/>
            <a:ext cx="4163716"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7"/>
            <a:ext cx="414847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3"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3"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24710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835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2"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3557877"/>
            <a:ext cx="3088537"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3"/>
            <a:ext cx="3097100"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6"/>
            <a:ext cx="3088946"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4"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4"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165072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37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39832"/>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2" y="807756"/>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2" y="3011508"/>
            <a:ext cx="4152135"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5" y="5207562"/>
            <a:ext cx="4121798"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0" y="3006084"/>
            <a:ext cx="4161383"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0" y="5209764"/>
            <a:ext cx="4164912"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047450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040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29" y="3555676"/>
            <a:ext cx="3081873"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6"/>
            <a:ext cx="308853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48347"/>
            <a:ext cx="3097101"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5"/>
            <a:ext cx="308894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1"/>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448957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42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005158"/>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220262"/>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001004"/>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222464"/>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0"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5"/>
          <p:cNvSpPr>
            <a:spLocks noGrp="1"/>
          </p:cNvSpPr>
          <p:nvPr>
            <p:ph type="body" sz="quarter" idx="24" hasCustomPrompt="1"/>
          </p:nvPr>
        </p:nvSpPr>
        <p:spPr>
          <a:xfrm>
            <a:off x="6787706"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83939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244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006996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473"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492569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4497"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488374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552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0"/>
            <a:ext cx="4115448" cy="4313238"/>
          </a:xfrm>
          <a:prstGeom prst="rect">
            <a:avLst/>
          </a:prstGeo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character illustration – delete grey shape</a:t>
            </a:r>
          </a:p>
        </p:txBody>
      </p:sp>
      <p:sp>
        <p:nvSpPr>
          <p:cNvPr id="13"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667853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982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1458614" y="1404920"/>
            <a:ext cx="10555362"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2653875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image" Target="../media/image1.emf"/><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oleObject" Target="../embeddings/oleObject74.bin"/><Relationship Id="rId2" Type="http://schemas.openxmlformats.org/officeDocument/2006/relationships/slideLayout" Target="../slideLayouts/slideLayout69.xml"/><Relationship Id="rId16" Type="http://schemas.openxmlformats.org/officeDocument/2006/relationships/tags" Target="../tags/tag75.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vmlDrawing" Target="../drawings/vmlDrawing74.vml"/><Relationship Id="rId10" Type="http://schemas.openxmlformats.org/officeDocument/2006/relationships/slideLayout" Target="../slideLayouts/slideLayout77.xml"/><Relationship Id="rId19" Type="http://schemas.openxmlformats.org/officeDocument/2006/relationships/image" Target="../media/image2.emf"/><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3" Type="http://schemas.openxmlformats.org/officeDocument/2006/relationships/slideLayout" Target="../slideLayouts/slideLayout83.xml"/><Relationship Id="rId21" Type="http://schemas.openxmlformats.org/officeDocument/2006/relationships/tags" Target="../tags/tag86.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image" Target="../media/image5.png"/><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vmlDrawing" Target="../drawings/vmlDrawing85.v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image" Target="../media/image4.emf"/><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image" Target="../media/image1.emf"/><Relationship Id="rId10" Type="http://schemas.openxmlformats.org/officeDocument/2006/relationships/slideLayout" Target="../slideLayouts/slideLayout90.xml"/><Relationship Id="rId19" Type="http://schemas.openxmlformats.org/officeDocument/2006/relationships/theme" Target="../theme/theme11.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oleObject" Target="../embeddings/oleObject85.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theme" Target="../theme/theme12.xml"/><Relationship Id="rId18" Type="http://schemas.openxmlformats.org/officeDocument/2006/relationships/image" Target="../media/image8.emf"/><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image" Target="../media/image1.emf"/><Relationship Id="rId2" Type="http://schemas.openxmlformats.org/officeDocument/2006/relationships/slideLayout" Target="../slideLayouts/slideLayout100.xml"/><Relationship Id="rId16" Type="http://schemas.openxmlformats.org/officeDocument/2006/relationships/oleObject" Target="../embeddings/oleObject104.bin"/><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5" Type="http://schemas.openxmlformats.org/officeDocument/2006/relationships/tags" Target="../tags/tag105.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vmlDrawing" Target="../drawings/vmlDrawing104.v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26" Type="http://schemas.openxmlformats.org/officeDocument/2006/relationships/tags" Target="../tags/tag116.xml"/><Relationship Id="rId3" Type="http://schemas.openxmlformats.org/officeDocument/2006/relationships/slideLayout" Target="../slideLayouts/slideLayout113.xml"/><Relationship Id="rId21" Type="http://schemas.openxmlformats.org/officeDocument/2006/relationships/slideLayout" Target="../slideLayouts/slideLayout131.xml"/><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5" Type="http://schemas.openxmlformats.org/officeDocument/2006/relationships/vmlDrawing" Target="../drawings/vmlDrawing115.v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0" Type="http://schemas.openxmlformats.org/officeDocument/2006/relationships/slideLayout" Target="../slideLayouts/slideLayout130.xml"/><Relationship Id="rId29" Type="http://schemas.openxmlformats.org/officeDocument/2006/relationships/image" Target="../media/image9.png"/><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24" Type="http://schemas.openxmlformats.org/officeDocument/2006/relationships/theme" Target="../theme/theme13.xml"/><Relationship Id="rId5" Type="http://schemas.openxmlformats.org/officeDocument/2006/relationships/slideLayout" Target="../slideLayouts/slideLayout115.xml"/><Relationship Id="rId15" Type="http://schemas.openxmlformats.org/officeDocument/2006/relationships/slideLayout" Target="../slideLayouts/slideLayout125.xml"/><Relationship Id="rId23" Type="http://schemas.openxmlformats.org/officeDocument/2006/relationships/slideLayout" Target="../slideLayouts/slideLayout133.xml"/><Relationship Id="rId28" Type="http://schemas.openxmlformats.org/officeDocument/2006/relationships/image" Target="../media/image1.emf"/><Relationship Id="rId10" Type="http://schemas.openxmlformats.org/officeDocument/2006/relationships/slideLayout" Target="../slideLayouts/slideLayout120.xml"/><Relationship Id="rId19" Type="http://schemas.openxmlformats.org/officeDocument/2006/relationships/slideLayout" Target="../slideLayouts/slideLayout129.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slideLayout" Target="../slideLayouts/slideLayout132.xml"/><Relationship Id="rId27" Type="http://schemas.openxmlformats.org/officeDocument/2006/relationships/oleObject" Target="../embeddings/oleObject115.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2.xml"/><Relationship Id="rId18" Type="http://schemas.openxmlformats.org/officeDocument/2006/relationships/image" Target="../media/image2.emf"/><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image" Target="../media/image1.emf"/><Relationship Id="rId2" Type="http://schemas.openxmlformats.org/officeDocument/2006/relationships/slideLayout" Target="../slideLayouts/slideLayout12.xml"/><Relationship Id="rId16" Type="http://schemas.openxmlformats.org/officeDocument/2006/relationships/oleObject" Target="../embeddings/oleObject12.bin"/><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tags" Target="../tags/tag13.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vmlDrawing" Target="../drawings/vmlDrawing1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tags" Target="../tags/tag24.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vmlDrawing" Target="../drawings/vmlDrawing23.v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2.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image" Target="../media/image1.emf"/><Relationship Id="rId10" Type="http://schemas.openxmlformats.org/officeDocument/2006/relationships/slideLayout" Target="../slideLayouts/slideLayout32.xml"/><Relationship Id="rId19" Type="http://schemas.openxmlformats.org/officeDocument/2006/relationships/theme" Target="../theme/theme3.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oleObject" Target="../embeddings/oleObject2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image" Target="../media/image1.e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oleObject" Target="../embeddings/oleObject42.bin"/><Relationship Id="rId2" Type="http://schemas.openxmlformats.org/officeDocument/2006/relationships/slideLayout" Target="../slideLayouts/slideLayout42.xml"/><Relationship Id="rId16" Type="http://schemas.openxmlformats.org/officeDocument/2006/relationships/tags" Target="../tags/tag43.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vmlDrawing" Target="../drawings/vmlDrawing42.vml"/><Relationship Id="rId10" Type="http://schemas.openxmlformats.org/officeDocument/2006/relationships/slideLayout" Target="../slideLayouts/slideLayout50.xml"/><Relationship Id="rId19" Type="http://schemas.openxmlformats.org/officeDocument/2006/relationships/image" Target="../media/image2.emf"/><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5.xml"/><Relationship Id="rId7" Type="http://schemas.openxmlformats.org/officeDocument/2006/relationships/image" Target="../media/image1.emf"/><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oleObject" Target="../embeddings/oleObject56.bin"/><Relationship Id="rId5" Type="http://schemas.openxmlformats.org/officeDocument/2006/relationships/tags" Target="../tags/tag57.xml"/><Relationship Id="rId4" Type="http://schemas.openxmlformats.org/officeDocument/2006/relationships/vmlDrawing" Target="../drawings/vmlDrawing56.vml"/></Relationships>
</file>

<file path=ppt/slideMasters/_rels/slideMaster6.xml.rels><?xml version="1.0" encoding="UTF-8" standalone="yes"?>
<Relationships xmlns="http://schemas.openxmlformats.org/package/2006/relationships"><Relationship Id="rId8" Type="http://schemas.openxmlformats.org/officeDocument/2006/relationships/vmlDrawing" Target="../drawings/vmlDrawing59.vml"/><Relationship Id="rId3" Type="http://schemas.openxmlformats.org/officeDocument/2006/relationships/slideLayout" Target="../slideLayouts/slideLayout58.xml"/><Relationship Id="rId7" Type="http://schemas.openxmlformats.org/officeDocument/2006/relationships/theme" Target="../theme/theme6.xml"/><Relationship Id="rId12" Type="http://schemas.openxmlformats.org/officeDocument/2006/relationships/image" Target="../media/image2.emf"/><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image" Target="../media/image1.emf"/><Relationship Id="rId5" Type="http://schemas.openxmlformats.org/officeDocument/2006/relationships/slideLayout" Target="../slideLayouts/slideLayout60.xml"/><Relationship Id="rId10" Type="http://schemas.openxmlformats.org/officeDocument/2006/relationships/oleObject" Target="../embeddings/oleObject59.bin"/><Relationship Id="rId4" Type="http://schemas.openxmlformats.org/officeDocument/2006/relationships/slideLayout" Target="../slideLayouts/slideLayout59.xml"/><Relationship Id="rId9" Type="http://schemas.openxmlformats.org/officeDocument/2006/relationships/tags" Target="../tags/tag60.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slideLayout" Target="../slideLayouts/slideLayout64.xml"/><Relationship Id="rId7" Type="http://schemas.openxmlformats.org/officeDocument/2006/relationships/vmlDrawing" Target="../drawings/vmlDrawing65.v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theme" Target="../theme/theme7.xml"/><Relationship Id="rId11" Type="http://schemas.openxmlformats.org/officeDocument/2006/relationships/image" Target="../media/image2.emf"/><Relationship Id="rId5" Type="http://schemas.openxmlformats.org/officeDocument/2006/relationships/slideLayout" Target="../slideLayouts/slideLayout66.xml"/><Relationship Id="rId10" Type="http://schemas.openxmlformats.org/officeDocument/2006/relationships/image" Target="../media/image1.emf"/><Relationship Id="rId4" Type="http://schemas.openxmlformats.org/officeDocument/2006/relationships/slideLayout" Target="../slideLayouts/slideLayout65.xml"/><Relationship Id="rId9" Type="http://schemas.openxmlformats.org/officeDocument/2006/relationships/oleObject" Target="../embeddings/oleObject65.bin"/></Relationships>
</file>

<file path=ppt/slideMasters/_rels/slideMaster8.xml.rels><?xml version="1.0" encoding="UTF-8" standalone="yes"?>
<Relationships xmlns="http://schemas.openxmlformats.org/package/2006/relationships"><Relationship Id="rId3" Type="http://schemas.openxmlformats.org/officeDocument/2006/relationships/vmlDrawing" Target="../drawings/vmlDrawing71.vml"/><Relationship Id="rId7" Type="http://schemas.openxmlformats.org/officeDocument/2006/relationships/image" Target="../media/image2.emf"/><Relationship Id="rId2" Type="http://schemas.openxmlformats.org/officeDocument/2006/relationships/theme" Target="../theme/theme8.xml"/><Relationship Id="rId1" Type="http://schemas.openxmlformats.org/officeDocument/2006/relationships/slideLayout" Target="../slideLayouts/slideLayout67.x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tags" Target="../tags/tag72.xml"/></Relationships>
</file>

<file path=ppt/slideMasters/_rels/slideMaster9.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vmlDrawing" Target="../drawings/vmlDrawing73.vml"/><Relationship Id="rId1" Type="http://schemas.openxmlformats.org/officeDocument/2006/relationships/theme" Target="../theme/theme9.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7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73" name="think-cell Slide" r:id="rId14" imgW="6350000" imgH="6350000" progId="">
                  <p:embed/>
                </p:oleObj>
              </mc:Choice>
              <mc:Fallback>
                <p:oleObj name="think-cell Slide" r:id="rId14" imgW="6350000" imgH="6350000" progId="">
                  <p:embed/>
                  <p:pic>
                    <p:nvPicPr>
                      <p:cNvPr id="8" name="Object 7"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6" name="Picture 5"/>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2153" y="1751"/>
          <a:ext cx="2154" cy="1749"/>
        </p:xfrm>
        <a:graphic>
          <a:graphicData uri="http://schemas.openxmlformats.org/presentationml/2006/ole">
            <mc:AlternateContent xmlns:mc="http://schemas.openxmlformats.org/markup-compatibility/2006">
              <mc:Choice xmlns:v="urn:schemas-microsoft-com:vml" Requires="v">
                <p:oleObj spid="_x0000_s75825" name="think-cell Slide" r:id="rId17" imgW="6350000" imgH="6350000" progId="">
                  <p:embed/>
                </p:oleObj>
              </mc:Choice>
              <mc:Fallback>
                <p:oleObj name="think-cell Slide" r:id="rId17" imgW="6350000" imgH="6350000" progId="">
                  <p:embed/>
                  <p:pic>
                    <p:nvPicPr>
                      <p:cNvPr id="8" name="Object 7"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53"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9"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2"/>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7"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1990020519"/>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 id="2147483938" r:id="rId1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07"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07" rtl="0" eaLnBrk="1" latinLnBrk="0" hangingPunct="1">
        <a:lnSpc>
          <a:spcPts val="1899"/>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807" rtl="0" eaLnBrk="1" latinLnBrk="0" hangingPunct="1">
        <a:lnSpc>
          <a:spcPts val="1899"/>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807"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07" rtl="0" eaLnBrk="1" latinLnBrk="0" hangingPunct="1">
        <a:lnSpc>
          <a:spcPts val="1599"/>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07"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973" indent="-240452" algn="l" defTabSz="961807"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6pPr>
      <a:lvl7pPr marL="3125878" indent="-240452" algn="l" defTabSz="961807"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7pPr>
      <a:lvl8pPr marL="3606783" indent="-240452" algn="l" defTabSz="961807"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8pPr>
      <a:lvl9pPr marL="4087687" indent="-240452" algn="l" defTabSz="961807"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9pPr>
    </p:bodyStyle>
    <p:otherStyle>
      <a:defPPr>
        <a:defRPr lang="en-US"/>
      </a:defPPr>
      <a:lvl1pPr marL="0" algn="l" defTabSz="961807" rtl="0" eaLnBrk="1" latinLnBrk="0" hangingPunct="1">
        <a:defRPr sz="1899" kern="1200">
          <a:solidFill>
            <a:schemeClr val="tx1"/>
          </a:solidFill>
          <a:latin typeface="+mn-lt"/>
          <a:ea typeface="+mn-ea"/>
          <a:cs typeface="+mn-cs"/>
        </a:defRPr>
      </a:lvl1pPr>
      <a:lvl2pPr marL="480905" algn="l" defTabSz="961807" rtl="0" eaLnBrk="1" latinLnBrk="0" hangingPunct="1">
        <a:defRPr sz="1899" kern="1200">
          <a:solidFill>
            <a:schemeClr val="tx1"/>
          </a:solidFill>
          <a:latin typeface="+mn-lt"/>
          <a:ea typeface="+mn-ea"/>
          <a:cs typeface="+mn-cs"/>
        </a:defRPr>
      </a:lvl2pPr>
      <a:lvl3pPr marL="961807" algn="l" defTabSz="961807" rtl="0" eaLnBrk="1" latinLnBrk="0" hangingPunct="1">
        <a:defRPr sz="1899" kern="1200">
          <a:solidFill>
            <a:schemeClr val="tx1"/>
          </a:solidFill>
          <a:latin typeface="+mn-lt"/>
          <a:ea typeface="+mn-ea"/>
          <a:cs typeface="+mn-cs"/>
        </a:defRPr>
      </a:lvl3pPr>
      <a:lvl4pPr marL="1442714" algn="l" defTabSz="961807" rtl="0" eaLnBrk="1" latinLnBrk="0" hangingPunct="1">
        <a:defRPr sz="1899" kern="1200">
          <a:solidFill>
            <a:schemeClr val="tx1"/>
          </a:solidFill>
          <a:latin typeface="+mn-lt"/>
          <a:ea typeface="+mn-ea"/>
          <a:cs typeface="+mn-cs"/>
        </a:defRPr>
      </a:lvl4pPr>
      <a:lvl5pPr marL="1923618" algn="l" defTabSz="961807" rtl="0" eaLnBrk="1" latinLnBrk="0" hangingPunct="1">
        <a:defRPr sz="1899" kern="1200">
          <a:solidFill>
            <a:schemeClr val="tx1"/>
          </a:solidFill>
          <a:latin typeface="+mn-lt"/>
          <a:ea typeface="+mn-ea"/>
          <a:cs typeface="+mn-cs"/>
        </a:defRPr>
      </a:lvl5pPr>
      <a:lvl6pPr marL="2404522" algn="l" defTabSz="961807" rtl="0" eaLnBrk="1" latinLnBrk="0" hangingPunct="1">
        <a:defRPr sz="1899" kern="1200">
          <a:solidFill>
            <a:schemeClr val="tx1"/>
          </a:solidFill>
          <a:latin typeface="+mn-lt"/>
          <a:ea typeface="+mn-ea"/>
          <a:cs typeface="+mn-cs"/>
        </a:defRPr>
      </a:lvl6pPr>
      <a:lvl7pPr marL="2885426" algn="l" defTabSz="961807" rtl="0" eaLnBrk="1" latinLnBrk="0" hangingPunct="1">
        <a:defRPr sz="1899" kern="1200">
          <a:solidFill>
            <a:schemeClr val="tx1"/>
          </a:solidFill>
          <a:latin typeface="+mn-lt"/>
          <a:ea typeface="+mn-ea"/>
          <a:cs typeface="+mn-cs"/>
        </a:defRPr>
      </a:lvl7pPr>
      <a:lvl8pPr marL="3366331" algn="l" defTabSz="961807" rtl="0" eaLnBrk="1" latinLnBrk="0" hangingPunct="1">
        <a:defRPr sz="1899" kern="1200">
          <a:solidFill>
            <a:schemeClr val="tx1"/>
          </a:solidFill>
          <a:latin typeface="+mn-lt"/>
          <a:ea typeface="+mn-ea"/>
          <a:cs typeface="+mn-cs"/>
        </a:defRPr>
      </a:lvl8pPr>
      <a:lvl9pPr marL="3847233" algn="l" defTabSz="961807" rtl="0" eaLnBrk="1" latinLnBrk="0" hangingPunct="1">
        <a:defRPr sz="1899"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87089" name="think-cell Slide" r:id="rId22" imgW="6350000" imgH="6350000" progId="">
                  <p:embed/>
                </p:oleObj>
              </mc:Choice>
              <mc:Fallback>
                <p:oleObj name="think-cell Slide" r:id="rId22" imgW="6350000" imgH="6350000" progId="">
                  <p:embed/>
                  <p:pic>
                    <p:nvPicPr>
                      <p:cNvPr id="8" name="Object 7"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a:xfrm>
            <a:off x="1" y="1"/>
            <a:ext cx="13442950" cy="7561262"/>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cxnSp>
        <p:nvCxnSpPr>
          <p:cNvPr id="10" name="Straight Connector 9"/>
          <p:cNvCxnSpPr/>
          <p:nvPr userDrawn="1"/>
        </p:nvCxnSpPr>
        <p:spPr bwMode="gray">
          <a:xfrm>
            <a:off x="1" y="6647385"/>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11"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12" name="Picture 11"/>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351316" y="6854435"/>
            <a:ext cx="1202416" cy="418462"/>
          </a:xfrm>
          <a:prstGeom prst="rect">
            <a:avLst/>
          </a:prstGeom>
        </p:spPr>
      </p:pic>
      <p:pic>
        <p:nvPicPr>
          <p:cNvPr id="13" name="Picture 12"/>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2029312" y="6957529"/>
            <a:ext cx="1235710" cy="195580"/>
          </a:xfrm>
          <a:prstGeom prst="rect">
            <a:avLst/>
          </a:prstGeom>
        </p:spPr>
      </p:pic>
      <p:cxnSp>
        <p:nvCxnSpPr>
          <p:cNvPr id="14" name="Straight Connector 13"/>
          <p:cNvCxnSpPr/>
          <p:nvPr userDrawn="1"/>
        </p:nvCxnSpPr>
        <p:spPr>
          <a:xfrm>
            <a:off x="1790300" y="6776186"/>
            <a:ext cx="0" cy="577516"/>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7394039"/>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3960" r:id="rId10"/>
    <p:sldLayoutId id="2147483961" r:id="rId11"/>
    <p:sldLayoutId id="2147483962" r:id="rId12"/>
    <p:sldLayoutId id="2147483963" r:id="rId13"/>
    <p:sldLayoutId id="2147483964" r:id="rId14"/>
    <p:sldLayoutId id="2147483965" r:id="rId15"/>
    <p:sldLayoutId id="2147483966" r:id="rId16"/>
    <p:sldLayoutId id="2147483967" r:id="rId17"/>
    <p:sldLayoutId id="2147483968" r:id="rId18"/>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FFFFFF"/>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18800"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descr="DCM LEFT LOGO ALL-05.eps"/>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3181351875"/>
      </p:ext>
    </p:extLst>
  </p:cSld>
  <p:clrMap bg1="lt1" tx1="dk1" bg2="lt2" tx2="dk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 id="2147483992" r:id="rId8"/>
    <p:sldLayoutId id="2147483993" r:id="rId9"/>
    <p:sldLayoutId id="2147483994" r:id="rId10"/>
    <p:sldLayoutId id="2147483995" r:id="rId11"/>
    <p:sldLayoutId id="2147483996" r:id="rId1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2105"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956728709"/>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337"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743" r:id="rId8"/>
    <p:sldLayoutId id="2147483694" r:id="rId9"/>
    <p:sldLayoutId id="2147483695" r:id="rId10"/>
    <p:sldLayoutId id="2147483697" r:id="rId11"/>
    <p:sldLayoutId id="2147483920"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3601" name="think-cell Slide" r:id="rId22" imgW="6350000" imgH="6350000" progId="">
                  <p:embed/>
                </p:oleObj>
              </mc:Choice>
              <mc:Fallback>
                <p:oleObj name="think-cell Slide" r:id="rId22" imgW="6350000" imgH="6350000" progId="">
                  <p:embed/>
                  <p:pic>
                    <p:nvPicPr>
                      <p:cNvPr id="8" name="Object 7"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4" name="Picture 3"/>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3698" r:id="rId3"/>
    <p:sldLayoutId id="2147483699" r:id="rId4"/>
    <p:sldLayoutId id="2147483700" r:id="rId5"/>
    <p:sldLayoutId id="2147483739"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3057" name="think-cell Slide" r:id="rId17" imgW="6350000" imgH="6350000" progId="">
                  <p:embed/>
                </p:oleObj>
              </mc:Choice>
              <mc:Fallback>
                <p:oleObj name="think-cell Slide" r:id="rId17" imgW="6350000" imgH="6350000" progId="">
                  <p:embed/>
                  <p:pic>
                    <p:nvPicPr>
                      <p:cNvPr id="8" name="Object 7"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7393" name="think-cell Slide" r:id="rId6" imgW="6350000" imgH="6350000" progId="">
                  <p:embed/>
                </p:oleObj>
              </mc:Choice>
              <mc:Fallback>
                <p:oleObj name="think-cell Slide" r:id="rId6" imgW="6350000" imgH="6350000" progId="">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3714" r:id="rId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0465" name="think-cell Slide" r:id="rId10" imgW="6350000" imgH="6350000" progId="">
                  <p:embed/>
                </p:oleObj>
              </mc:Choice>
              <mc:Fallback>
                <p:oleObj name="think-cell Slide" r:id="rId10" imgW="6350000" imgH="6350000" progId="">
                  <p:embed/>
                  <p:pic>
                    <p:nvPicPr>
                      <p:cNvPr id="8" name="Object 7"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6609"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2753"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898"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480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youtube.com/watch?v=g4U4BQW9OEk" TargetMode="External"/><Relationship Id="rId2" Type="http://schemas.openxmlformats.org/officeDocument/2006/relationships/notesSlide" Target="../notesSlides/notesSlide1.xml"/><Relationship Id="rId1" Type="http://schemas.openxmlformats.org/officeDocument/2006/relationships/slideLayout" Target="../slideLayouts/slideLayout111.xml"/><Relationship Id="rId5" Type="http://schemas.openxmlformats.org/officeDocument/2006/relationships/hyperlink" Target="https://www.youtube.com/watch?v=TYnITeDfaA4" TargetMode="External"/><Relationship Id="rId4" Type="http://schemas.openxmlformats.org/officeDocument/2006/relationships/image" Target="../media/image10.jpeg"/></Relationships>
</file>

<file path=ppt/slides/_rels/slide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1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12.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p:txBody>
          <a:bodyPr/>
          <a:lstStyle/>
          <a:p>
            <a:r>
              <a:rPr lang="en-GB" dirty="0"/>
              <a:t>DOWNTON ABBEY: A NEW ERA</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p:txBody>
          <a:bodyPr/>
          <a:lstStyle/>
          <a:p>
            <a:r>
              <a:rPr lang="en-GB" dirty="0"/>
              <a:t>The Crawleys are back for another blockbuster cinema event</a:t>
            </a:r>
            <a:endParaRPr lang="en-US" dirty="0"/>
          </a:p>
        </p:txBody>
      </p:sp>
      <p:sp>
        <p:nvSpPr>
          <p:cNvPr id="7" name="Text Placeholder 6">
            <a:extLst>
              <a:ext uri="{FF2B5EF4-FFF2-40B4-BE49-F238E27FC236}">
                <a16:creationId xmlns:a16="http://schemas.microsoft.com/office/drawing/2014/main" id="{145FC2E8-86EC-4A83-83CC-62FC6391A701}"/>
              </a:ext>
            </a:extLst>
          </p:cNvPr>
          <p:cNvSpPr>
            <a:spLocks noGrp="1"/>
          </p:cNvSpPr>
          <p:nvPr>
            <p:ph type="body" sz="quarter" idx="11"/>
          </p:nvPr>
        </p:nvSpPr>
        <p:spPr>
          <a:xfrm>
            <a:off x="9933067" y="7210819"/>
            <a:ext cx="3116263" cy="184666"/>
          </a:xfrm>
        </p:spPr>
        <p:txBody>
          <a:bodyPr/>
          <a:lstStyle/>
          <a:p>
            <a:r>
              <a:rPr lang="en-GB" sz="1200" b="1" dirty="0"/>
              <a:t>RELEASE DATE: 18 MARCH 2022</a:t>
            </a:r>
            <a:endParaRPr lang="en-US" sz="1200" b="1" dirty="0"/>
          </a:p>
        </p:txBody>
      </p:sp>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270000" y="1135146"/>
            <a:ext cx="7141690" cy="5498097"/>
          </a:xfrm>
        </p:spPr>
        <p:txBody>
          <a:bodyPr/>
          <a:lstStyle/>
          <a:p>
            <a:pPr>
              <a:lnSpc>
                <a:spcPts val="1800"/>
              </a:lnSpc>
            </a:pPr>
            <a:r>
              <a:rPr lang="en-GB" sz="1400" b="0" dirty="0">
                <a:solidFill>
                  <a:schemeClr val="bg1"/>
                </a:solidFill>
                <a:latin typeface="Arial" pitchFamily="34" charset="0"/>
                <a:cs typeface="Arial" pitchFamily="34" charset="0"/>
              </a:rPr>
              <a:t>Having ventured to the big screen for the first time in 2019, the Crawley family return in 2022 inviting audiences to “the grandest escape of the year”. With Lady Violet having come into possession of a villa in the south of France, the family and their loyal attendants all step away from their English countryside estate and head for the sunny French Riviera. </a:t>
            </a:r>
          </a:p>
          <a:p>
            <a:pPr>
              <a:lnSpc>
                <a:spcPts val="1800"/>
              </a:lnSpc>
            </a:pPr>
            <a:endParaRPr lang="en-GB" sz="1400" b="0" dirty="0">
              <a:solidFill>
                <a:schemeClr val="bg1"/>
              </a:solidFill>
              <a:latin typeface="Arial" pitchFamily="34" charset="0"/>
              <a:cs typeface="Arial" pitchFamily="34" charset="0"/>
            </a:endParaRPr>
          </a:p>
          <a:p>
            <a:pPr>
              <a:lnSpc>
                <a:spcPts val="1800"/>
              </a:lnSpc>
            </a:pPr>
            <a:r>
              <a:rPr lang="en-GB" sz="1400" b="0" dirty="0">
                <a:solidFill>
                  <a:schemeClr val="bg1"/>
                </a:solidFill>
                <a:latin typeface="Arial" pitchFamily="34" charset="0"/>
                <a:cs typeface="Arial" pitchFamily="34" charset="0"/>
              </a:rPr>
              <a:t>This second film will take events right up to the very end of the 1920s and writer Julian Fellowes has promised that audiences can expect an “unashamedly feel-good film”. </a:t>
            </a:r>
          </a:p>
          <a:p>
            <a:pPr>
              <a:lnSpc>
                <a:spcPts val="1800"/>
              </a:lnSpc>
            </a:pPr>
            <a:endParaRPr lang="en-GB" b="0" dirty="0"/>
          </a:p>
          <a:p>
            <a:pPr>
              <a:lnSpc>
                <a:spcPts val="1800"/>
              </a:lnSpc>
            </a:pPr>
            <a:r>
              <a:rPr lang="en-GB" altLang="en-US" sz="1400" dirty="0">
                <a:solidFill>
                  <a:schemeClr val="bg1"/>
                </a:solidFill>
                <a:latin typeface="Arial" pitchFamily="34" charset="0"/>
                <a:cs typeface="Arial" pitchFamily="34" charset="0"/>
              </a:rPr>
              <a:t>CAST</a:t>
            </a:r>
          </a:p>
          <a:p>
            <a:pPr>
              <a:lnSpc>
                <a:spcPts val="1800"/>
              </a:lnSpc>
            </a:pPr>
            <a:r>
              <a:rPr lang="en-GB" sz="1400" b="0" dirty="0">
                <a:solidFill>
                  <a:schemeClr val="bg1"/>
                </a:solidFill>
                <a:latin typeface="Arial" pitchFamily="34" charset="0"/>
                <a:cs typeface="Arial" pitchFamily="34" charset="0"/>
              </a:rPr>
              <a:t>Maggie Smith, Hugh Bonneville, Michelle Dockery, Hugh Dancy, Elizabeth McGovern, </a:t>
            </a:r>
          </a:p>
          <a:p>
            <a:pPr>
              <a:lnSpc>
                <a:spcPts val="1800"/>
              </a:lnSpc>
            </a:pPr>
            <a:r>
              <a:rPr lang="en-GB" sz="1400" b="0" dirty="0">
                <a:solidFill>
                  <a:schemeClr val="bg1"/>
                </a:solidFill>
                <a:latin typeface="Arial" pitchFamily="34" charset="0"/>
                <a:cs typeface="Arial" pitchFamily="34" charset="0"/>
              </a:rPr>
              <a:t>Jim Carter and Dominic West</a:t>
            </a:r>
          </a:p>
          <a:p>
            <a:pPr>
              <a:lnSpc>
                <a:spcPts val="1800"/>
              </a:lnSpc>
            </a:pPr>
            <a:r>
              <a:rPr lang="en-GB" sz="1400" b="0" dirty="0">
                <a:solidFill>
                  <a:schemeClr val="bg1"/>
                </a:solidFill>
                <a:latin typeface="Arial" pitchFamily="34" charset="0"/>
                <a:cs typeface="Arial" pitchFamily="34" charset="0"/>
              </a:rPr>
              <a:t> </a:t>
            </a:r>
            <a:endParaRPr lang="en-GB" sz="1400" dirty="0"/>
          </a:p>
          <a:p>
            <a:pPr>
              <a:lnSpc>
                <a:spcPts val="1800"/>
              </a:lnSpc>
            </a:pPr>
            <a:r>
              <a:rPr lang="en-GB" altLang="en-US" sz="1400" dirty="0">
                <a:solidFill>
                  <a:schemeClr val="bg1"/>
                </a:solidFill>
                <a:latin typeface="Arial" pitchFamily="34" charset="0"/>
                <a:cs typeface="Arial" pitchFamily="34" charset="0"/>
              </a:rPr>
              <a:t>KEY STATS </a:t>
            </a:r>
          </a:p>
          <a:p>
            <a:pPr>
              <a:lnSpc>
                <a:spcPts val="1800"/>
              </a:lnSpc>
            </a:pPr>
            <a:r>
              <a:rPr lang="en-GB" altLang="en-US" sz="1400" b="0" dirty="0">
                <a:solidFill>
                  <a:schemeClr val="bg1"/>
                </a:solidFill>
                <a:latin typeface="Arial" pitchFamily="34" charset="0"/>
                <a:cs typeface="Arial" pitchFamily="34" charset="0"/>
              </a:rPr>
              <a:t>The first </a:t>
            </a:r>
            <a:r>
              <a:rPr lang="en-GB" altLang="en-US" sz="1400" b="0" i="1" dirty="0">
                <a:solidFill>
                  <a:schemeClr val="bg1"/>
                </a:solidFill>
                <a:latin typeface="Arial" pitchFamily="34" charset="0"/>
                <a:cs typeface="Arial" pitchFamily="34" charset="0"/>
              </a:rPr>
              <a:t>Downton Abbey </a:t>
            </a:r>
            <a:r>
              <a:rPr lang="en-GB" altLang="en-US" sz="1400" b="0" dirty="0">
                <a:solidFill>
                  <a:schemeClr val="bg1"/>
                </a:solidFill>
                <a:latin typeface="Arial" pitchFamily="34" charset="0"/>
                <a:cs typeface="Arial" pitchFamily="34" charset="0"/>
              </a:rPr>
              <a:t>movie grossed £28m at the UK box office, making it the 10</a:t>
            </a:r>
            <a:r>
              <a:rPr lang="en-GB" altLang="en-US" sz="1400" b="0" baseline="30000" dirty="0">
                <a:solidFill>
                  <a:schemeClr val="bg1"/>
                </a:solidFill>
                <a:latin typeface="Arial" pitchFamily="34" charset="0"/>
                <a:cs typeface="Arial" pitchFamily="34" charset="0"/>
              </a:rPr>
              <a:t>th</a:t>
            </a:r>
            <a:r>
              <a:rPr lang="en-GB" altLang="en-US" sz="1400" b="0" dirty="0">
                <a:solidFill>
                  <a:schemeClr val="bg1"/>
                </a:solidFill>
                <a:latin typeface="Arial" pitchFamily="34" charset="0"/>
                <a:cs typeface="Arial" pitchFamily="34" charset="0"/>
              </a:rPr>
              <a:t> biggest film of 2019.</a:t>
            </a:r>
          </a:p>
          <a:p>
            <a:pPr>
              <a:lnSpc>
                <a:spcPts val="1800"/>
              </a:lnSpc>
            </a:pPr>
            <a:endParaRPr lang="en-GB" altLang="en-US" sz="1400" b="0" i="1" dirty="0">
              <a:solidFill>
                <a:schemeClr val="bg1"/>
              </a:solidFill>
              <a:latin typeface="Arial" pitchFamily="34" charset="0"/>
              <a:cs typeface="Arial" pitchFamily="34" charset="0"/>
            </a:endParaRPr>
          </a:p>
          <a:p>
            <a:pPr>
              <a:lnSpc>
                <a:spcPts val="1800"/>
              </a:lnSpc>
            </a:pPr>
            <a:r>
              <a:rPr lang="en-GB" altLang="en-US" sz="1400" dirty="0">
                <a:solidFill>
                  <a:srgbClr val="000000"/>
                </a:solidFill>
                <a:latin typeface="Arial" pitchFamily="34" charset="0"/>
                <a:cs typeface="Arial" pitchFamily="34" charset="0"/>
              </a:rPr>
              <a:t>EST. INDUSTRY ADMISSIONS</a:t>
            </a:r>
          </a:p>
          <a:p>
            <a:pPr>
              <a:lnSpc>
                <a:spcPts val="1800"/>
              </a:lnSpc>
            </a:pPr>
            <a:r>
              <a:rPr lang="en-GB" altLang="en-US" sz="1400" b="0" dirty="0">
                <a:solidFill>
                  <a:srgbClr val="000000"/>
                </a:solidFill>
                <a:latin typeface="Arial" pitchFamily="34" charset="0"/>
                <a:cs typeface="Arial" pitchFamily="34" charset="0"/>
              </a:rPr>
              <a:t>2.5m</a:t>
            </a:r>
          </a:p>
          <a:p>
            <a:pPr>
              <a:lnSpc>
                <a:spcPts val="1800"/>
              </a:lnSpc>
            </a:pPr>
            <a:endParaRPr lang="en-GB" altLang="en-US" sz="1400" b="0" dirty="0">
              <a:solidFill>
                <a:srgbClr val="000000"/>
              </a:solidFill>
              <a:latin typeface="Arial" pitchFamily="34" charset="0"/>
              <a:cs typeface="Arial" pitchFamily="34" charset="0"/>
            </a:endParaRPr>
          </a:p>
          <a:p>
            <a:pPr>
              <a:lnSpc>
                <a:spcPts val="1800"/>
              </a:lnSpc>
            </a:pPr>
            <a:r>
              <a:rPr lang="en-GB" altLang="en-US" sz="1400" dirty="0">
                <a:solidFill>
                  <a:srgbClr val="000000"/>
                </a:solidFill>
                <a:latin typeface="Arial" pitchFamily="34" charset="0"/>
                <a:cs typeface="Arial" pitchFamily="34" charset="0"/>
              </a:rPr>
              <a:t>REACH / IMPACTS / TVRs</a:t>
            </a:r>
            <a:r>
              <a:rPr lang="en-GB" altLang="en-US" sz="1000" baseline="50000" dirty="0">
                <a:solidFill>
                  <a:srgbClr val="000000"/>
                </a:solidFill>
                <a:latin typeface="Arial" pitchFamily="34" charset="0"/>
                <a:cs typeface="Arial" pitchFamily="34" charset="0"/>
              </a:rPr>
              <a:t>1</a:t>
            </a:r>
          </a:p>
          <a:p>
            <a:pPr>
              <a:lnSpc>
                <a:spcPts val="1800"/>
              </a:lnSpc>
            </a:pPr>
            <a:r>
              <a:rPr lang="en-GB" altLang="en-US" sz="1400" b="0" dirty="0">
                <a:solidFill>
                  <a:schemeClr val="bg1"/>
                </a:solidFill>
                <a:latin typeface="Arial" pitchFamily="34" charset="0"/>
                <a:cs typeface="Arial" pitchFamily="34" charset="0"/>
              </a:rPr>
              <a:t>All adults (16+): 4.4% / 2.5m / 5.2</a:t>
            </a:r>
          </a:p>
          <a:p>
            <a:pPr>
              <a:lnSpc>
                <a:spcPts val="1800"/>
              </a:lnSpc>
            </a:pPr>
            <a:r>
              <a:rPr lang="en-GB" altLang="en-US" sz="1400" b="0" dirty="0">
                <a:solidFill>
                  <a:schemeClr val="bg1"/>
                </a:solidFill>
                <a:latin typeface="Arial" pitchFamily="34" charset="0"/>
                <a:cs typeface="Arial" pitchFamily="34" charset="0"/>
              </a:rPr>
              <a:t>ABC1 adults: 6.3% / 2.0m / 7.3</a:t>
            </a:r>
          </a:p>
          <a:p>
            <a:pPr>
              <a:lnSpc>
                <a:spcPts val="1800"/>
              </a:lnSpc>
            </a:pPr>
            <a:r>
              <a:rPr lang="en-GB" altLang="en-US" sz="1400" b="0" dirty="0">
                <a:solidFill>
                  <a:schemeClr val="bg1"/>
                </a:solidFill>
                <a:latin typeface="Arial" pitchFamily="34" charset="0"/>
                <a:cs typeface="Arial" pitchFamily="34" charset="0"/>
              </a:rPr>
              <a:t>ABC1 women: 8.4% / 1.4m </a:t>
            </a:r>
            <a:r>
              <a:rPr lang="en-GB" altLang="en-US" sz="1400" b="0">
                <a:solidFill>
                  <a:schemeClr val="bg1"/>
                </a:solidFill>
                <a:latin typeface="Arial" pitchFamily="34" charset="0"/>
                <a:cs typeface="Arial" pitchFamily="34" charset="0"/>
              </a:rPr>
              <a:t>/ 10.1</a:t>
            </a:r>
            <a:endParaRPr lang="en-GB" altLang="en-US" sz="1400" b="0" dirty="0">
              <a:solidFill>
                <a:schemeClr val="bg1"/>
              </a:solidFill>
              <a:latin typeface="Arial" pitchFamily="34" charset="0"/>
              <a:cs typeface="Arial" pitchFamily="34" charset="0"/>
            </a:endParaRPr>
          </a:p>
          <a:p>
            <a:pPr>
              <a:lnSpc>
                <a:spcPts val="1800"/>
              </a:lnSpc>
            </a:pPr>
            <a:endParaRPr lang="en-GB" altLang="en-US" sz="1400" b="0" dirty="0">
              <a:solidFill>
                <a:schemeClr val="bg1"/>
              </a:solidFill>
              <a:latin typeface="Arial" pitchFamily="34" charset="0"/>
              <a:cs typeface="Arial" pitchFamily="34" charset="0"/>
            </a:endParaRPr>
          </a:p>
          <a:p>
            <a:pPr>
              <a:lnSpc>
                <a:spcPts val="1800"/>
              </a:lnSpc>
            </a:pPr>
            <a:endParaRPr lang="en-GB" altLang="en-US" sz="1400" b="0" dirty="0">
              <a:solidFill>
                <a:schemeClr val="bg1"/>
              </a:solidFill>
              <a:latin typeface="Arial" pitchFamily="34" charset="0"/>
              <a:cs typeface="Arial" pitchFamily="34" charset="0"/>
            </a:endParaRPr>
          </a:p>
          <a:p>
            <a:pPr>
              <a:lnSpc>
                <a:spcPts val="1800"/>
              </a:lnSpc>
            </a:pPr>
            <a:endParaRPr lang="en-GB" altLang="en-US" sz="1400" b="0" dirty="0">
              <a:solidFill>
                <a:schemeClr val="bg1"/>
              </a:solidFill>
              <a:latin typeface="Arial" pitchFamily="34" charset="0"/>
              <a:cs typeface="Arial" pitchFamily="34" charset="0"/>
            </a:endParaRPr>
          </a:p>
        </p:txBody>
      </p:sp>
      <p:grpSp>
        <p:nvGrpSpPr>
          <p:cNvPr id="19" name="Group 18">
            <a:extLst>
              <a:ext uri="{FF2B5EF4-FFF2-40B4-BE49-F238E27FC236}">
                <a16:creationId xmlns:a16="http://schemas.microsoft.com/office/drawing/2014/main" id="{94DF5DB7-A253-4880-8766-B684CED84839}"/>
              </a:ext>
            </a:extLst>
          </p:cNvPr>
          <p:cNvGrpSpPr/>
          <p:nvPr/>
        </p:nvGrpSpPr>
        <p:grpSpPr>
          <a:xfrm>
            <a:off x="9831543" y="3032038"/>
            <a:ext cx="1129460" cy="1129040"/>
            <a:chOff x="3429000" y="327025"/>
            <a:chExt cx="4267200" cy="4265613"/>
          </a:xfrm>
          <a:solidFill>
            <a:srgbClr val="FFFFFF">
              <a:alpha val="80000"/>
            </a:srgbClr>
          </a:solidFill>
        </p:grpSpPr>
        <p:sp>
          <p:nvSpPr>
            <p:cNvPr id="20" name="Freeform 5">
              <a:extLst>
                <a:ext uri="{FF2B5EF4-FFF2-40B4-BE49-F238E27FC236}">
                  <a16:creationId xmlns:a16="http://schemas.microsoft.com/office/drawing/2014/main" id="{0A8F0FCA-2319-4963-862C-4D4ED24FC7B9}"/>
                </a:ext>
              </a:extLst>
            </p:cNvPr>
            <p:cNvSpPr>
              <a:spLocks noEditPoints="1"/>
            </p:cNvSpPr>
            <p:nvPr/>
          </p:nvSpPr>
          <p:spPr bwMode="auto">
            <a:xfrm>
              <a:off x="3429000" y="327025"/>
              <a:ext cx="4267200" cy="4265613"/>
            </a:xfrm>
            <a:custGeom>
              <a:avLst/>
              <a:gdLst>
                <a:gd name="T0" fmla="*/ 1139 w 2688"/>
                <a:gd name="T1" fmla="*/ 16 h 2687"/>
                <a:gd name="T2" fmla="*/ 882 w 2688"/>
                <a:gd name="T3" fmla="*/ 82 h 2687"/>
                <a:gd name="T4" fmla="*/ 647 w 2688"/>
                <a:gd name="T5" fmla="*/ 194 h 2687"/>
                <a:gd name="T6" fmla="*/ 440 w 2688"/>
                <a:gd name="T7" fmla="*/ 349 h 2687"/>
                <a:gd name="T8" fmla="*/ 267 w 2688"/>
                <a:gd name="T9" fmla="*/ 540 h 2687"/>
                <a:gd name="T10" fmla="*/ 133 w 2688"/>
                <a:gd name="T11" fmla="*/ 761 h 2687"/>
                <a:gd name="T12" fmla="*/ 43 w 2688"/>
                <a:gd name="T13" fmla="*/ 1008 h 2687"/>
                <a:gd name="T14" fmla="*/ 2 w 2688"/>
                <a:gd name="T15" fmla="*/ 1275 h 2687"/>
                <a:gd name="T16" fmla="*/ 11 w 2688"/>
                <a:gd name="T17" fmla="*/ 1515 h 2687"/>
                <a:gd name="T18" fmla="*/ 71 w 2688"/>
                <a:gd name="T19" fmla="*/ 1775 h 2687"/>
                <a:gd name="T20" fmla="*/ 178 w 2688"/>
                <a:gd name="T21" fmla="*/ 2012 h 2687"/>
                <a:gd name="T22" fmla="*/ 327 w 2688"/>
                <a:gd name="T23" fmla="*/ 2222 h 2687"/>
                <a:gd name="T24" fmla="*/ 514 w 2688"/>
                <a:gd name="T25" fmla="*/ 2400 h 2687"/>
                <a:gd name="T26" fmla="*/ 732 w 2688"/>
                <a:gd name="T27" fmla="*/ 2540 h 2687"/>
                <a:gd name="T28" fmla="*/ 976 w 2688"/>
                <a:gd name="T29" fmla="*/ 2637 h 2687"/>
                <a:gd name="T30" fmla="*/ 1241 w 2688"/>
                <a:gd name="T31" fmla="*/ 2683 h 2687"/>
                <a:gd name="T32" fmla="*/ 1481 w 2688"/>
                <a:gd name="T33" fmla="*/ 2681 h 2687"/>
                <a:gd name="T34" fmla="*/ 1743 w 2688"/>
                <a:gd name="T35" fmla="*/ 2627 h 2687"/>
                <a:gd name="T36" fmla="*/ 1985 w 2688"/>
                <a:gd name="T37" fmla="*/ 2525 h 2687"/>
                <a:gd name="T38" fmla="*/ 2198 w 2688"/>
                <a:gd name="T39" fmla="*/ 2380 h 2687"/>
                <a:gd name="T40" fmla="*/ 2381 w 2688"/>
                <a:gd name="T41" fmla="*/ 2199 h 2687"/>
                <a:gd name="T42" fmla="*/ 2526 w 2688"/>
                <a:gd name="T43" fmla="*/ 1984 h 2687"/>
                <a:gd name="T44" fmla="*/ 2628 w 2688"/>
                <a:gd name="T45" fmla="*/ 1743 h 2687"/>
                <a:gd name="T46" fmla="*/ 2682 w 2688"/>
                <a:gd name="T47" fmla="*/ 1481 h 2687"/>
                <a:gd name="T48" fmla="*/ 2684 w 2688"/>
                <a:gd name="T49" fmla="*/ 1240 h 2687"/>
                <a:gd name="T50" fmla="*/ 2638 w 2688"/>
                <a:gd name="T51" fmla="*/ 975 h 2687"/>
                <a:gd name="T52" fmla="*/ 2541 w 2688"/>
                <a:gd name="T53" fmla="*/ 732 h 2687"/>
                <a:gd name="T54" fmla="*/ 2401 w 2688"/>
                <a:gd name="T55" fmla="*/ 514 h 2687"/>
                <a:gd name="T56" fmla="*/ 2223 w 2688"/>
                <a:gd name="T57" fmla="*/ 328 h 2687"/>
                <a:gd name="T58" fmla="*/ 2013 w 2688"/>
                <a:gd name="T59" fmla="*/ 178 h 2687"/>
                <a:gd name="T60" fmla="*/ 1776 w 2688"/>
                <a:gd name="T61" fmla="*/ 71 h 2687"/>
                <a:gd name="T62" fmla="*/ 1516 w 2688"/>
                <a:gd name="T63" fmla="*/ 11 h 2687"/>
                <a:gd name="T64" fmla="*/ 1344 w 2688"/>
                <a:gd name="T65" fmla="*/ 2417 h 2687"/>
                <a:gd name="T66" fmla="*/ 1128 w 2688"/>
                <a:gd name="T67" fmla="*/ 2395 h 2687"/>
                <a:gd name="T68" fmla="*/ 926 w 2688"/>
                <a:gd name="T69" fmla="*/ 2333 h 2687"/>
                <a:gd name="T70" fmla="*/ 585 w 2688"/>
                <a:gd name="T71" fmla="*/ 2102 h 2687"/>
                <a:gd name="T72" fmla="*/ 355 w 2688"/>
                <a:gd name="T73" fmla="*/ 1761 h 2687"/>
                <a:gd name="T74" fmla="*/ 292 w 2688"/>
                <a:gd name="T75" fmla="*/ 1560 h 2687"/>
                <a:gd name="T76" fmla="*/ 271 w 2688"/>
                <a:gd name="T77" fmla="*/ 1344 h 2687"/>
                <a:gd name="T78" fmla="*/ 288 w 2688"/>
                <a:gd name="T79" fmla="*/ 1154 h 2687"/>
                <a:gd name="T80" fmla="*/ 346 w 2688"/>
                <a:gd name="T81" fmla="*/ 951 h 2687"/>
                <a:gd name="T82" fmla="*/ 550 w 2688"/>
                <a:gd name="T83" fmla="*/ 622 h 2687"/>
                <a:gd name="T84" fmla="*/ 879 w 2688"/>
                <a:gd name="T85" fmla="*/ 377 h 2687"/>
                <a:gd name="T86" fmla="*/ 1101 w 2688"/>
                <a:gd name="T87" fmla="*/ 298 h 2687"/>
                <a:gd name="T88" fmla="*/ 1316 w 2688"/>
                <a:gd name="T89" fmla="*/ 271 h 2687"/>
                <a:gd name="T90" fmla="*/ 1507 w 2688"/>
                <a:gd name="T91" fmla="*/ 283 h 2687"/>
                <a:gd name="T92" fmla="*/ 1713 w 2688"/>
                <a:gd name="T93" fmla="*/ 336 h 2687"/>
                <a:gd name="T94" fmla="*/ 2027 w 2688"/>
                <a:gd name="T95" fmla="*/ 516 h 2687"/>
                <a:gd name="T96" fmla="*/ 2288 w 2688"/>
                <a:gd name="T97" fmla="*/ 833 h 2687"/>
                <a:gd name="T98" fmla="*/ 2384 w 2688"/>
                <a:gd name="T99" fmla="*/ 1075 h 2687"/>
                <a:gd name="T100" fmla="*/ 2416 w 2688"/>
                <a:gd name="T101" fmla="*/ 1289 h 2687"/>
                <a:gd name="T102" fmla="*/ 2409 w 2688"/>
                <a:gd name="T103" fmla="*/ 1481 h 2687"/>
                <a:gd name="T104" fmla="*/ 2362 w 2688"/>
                <a:gd name="T105" fmla="*/ 1688 h 2687"/>
                <a:gd name="T106" fmla="*/ 2204 w 2688"/>
                <a:gd name="T107" fmla="*/ 1985 h 2687"/>
                <a:gd name="T108" fmla="*/ 1901 w 2688"/>
                <a:gd name="T109" fmla="*/ 2261 h 2687"/>
                <a:gd name="T110" fmla="*/ 1638 w 2688"/>
                <a:gd name="T111" fmla="*/ 2376 h 2687"/>
                <a:gd name="T112" fmla="*/ 1427 w 2688"/>
                <a:gd name="T113" fmla="*/ 2413 h 2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88" h="2687">
                  <a:moveTo>
                    <a:pt x="1344" y="0"/>
                  </a:moveTo>
                  <a:lnTo>
                    <a:pt x="1344" y="0"/>
                  </a:lnTo>
                  <a:lnTo>
                    <a:pt x="1310" y="1"/>
                  </a:lnTo>
                  <a:lnTo>
                    <a:pt x="1275" y="2"/>
                  </a:lnTo>
                  <a:lnTo>
                    <a:pt x="1241" y="4"/>
                  </a:lnTo>
                  <a:lnTo>
                    <a:pt x="1207" y="8"/>
                  </a:lnTo>
                  <a:lnTo>
                    <a:pt x="1173" y="11"/>
                  </a:lnTo>
                  <a:lnTo>
                    <a:pt x="1139" y="16"/>
                  </a:lnTo>
                  <a:lnTo>
                    <a:pt x="1107" y="21"/>
                  </a:lnTo>
                  <a:lnTo>
                    <a:pt x="1073" y="28"/>
                  </a:lnTo>
                  <a:lnTo>
                    <a:pt x="1040" y="34"/>
                  </a:lnTo>
                  <a:lnTo>
                    <a:pt x="1008" y="43"/>
                  </a:lnTo>
                  <a:lnTo>
                    <a:pt x="976" y="52"/>
                  </a:lnTo>
                  <a:lnTo>
                    <a:pt x="945" y="60"/>
                  </a:lnTo>
                  <a:lnTo>
                    <a:pt x="914" y="71"/>
                  </a:lnTo>
                  <a:lnTo>
                    <a:pt x="882" y="82"/>
                  </a:lnTo>
                  <a:lnTo>
                    <a:pt x="851" y="93"/>
                  </a:lnTo>
                  <a:lnTo>
                    <a:pt x="821" y="106"/>
                  </a:lnTo>
                  <a:lnTo>
                    <a:pt x="791" y="119"/>
                  </a:lnTo>
                  <a:lnTo>
                    <a:pt x="761" y="133"/>
                  </a:lnTo>
                  <a:lnTo>
                    <a:pt x="732" y="147"/>
                  </a:lnTo>
                  <a:lnTo>
                    <a:pt x="703" y="162"/>
                  </a:lnTo>
                  <a:lnTo>
                    <a:pt x="675" y="178"/>
                  </a:lnTo>
                  <a:lnTo>
                    <a:pt x="647" y="194"/>
                  </a:lnTo>
                  <a:lnTo>
                    <a:pt x="619" y="211"/>
                  </a:lnTo>
                  <a:lnTo>
                    <a:pt x="593" y="230"/>
                  </a:lnTo>
                  <a:lnTo>
                    <a:pt x="566" y="248"/>
                  </a:lnTo>
                  <a:lnTo>
                    <a:pt x="540" y="267"/>
                  </a:lnTo>
                  <a:lnTo>
                    <a:pt x="514" y="287"/>
                  </a:lnTo>
                  <a:lnTo>
                    <a:pt x="490" y="307"/>
                  </a:lnTo>
                  <a:lnTo>
                    <a:pt x="465" y="328"/>
                  </a:lnTo>
                  <a:lnTo>
                    <a:pt x="440" y="349"/>
                  </a:lnTo>
                  <a:lnTo>
                    <a:pt x="417" y="371"/>
                  </a:lnTo>
                  <a:lnTo>
                    <a:pt x="394" y="394"/>
                  </a:lnTo>
                  <a:lnTo>
                    <a:pt x="371" y="416"/>
                  </a:lnTo>
                  <a:lnTo>
                    <a:pt x="349" y="440"/>
                  </a:lnTo>
                  <a:lnTo>
                    <a:pt x="327" y="465"/>
                  </a:lnTo>
                  <a:lnTo>
                    <a:pt x="307" y="489"/>
                  </a:lnTo>
                  <a:lnTo>
                    <a:pt x="287" y="514"/>
                  </a:lnTo>
                  <a:lnTo>
                    <a:pt x="267" y="540"/>
                  </a:lnTo>
                  <a:lnTo>
                    <a:pt x="248" y="566"/>
                  </a:lnTo>
                  <a:lnTo>
                    <a:pt x="230" y="592"/>
                  </a:lnTo>
                  <a:lnTo>
                    <a:pt x="211" y="619"/>
                  </a:lnTo>
                  <a:lnTo>
                    <a:pt x="194" y="647"/>
                  </a:lnTo>
                  <a:lnTo>
                    <a:pt x="178" y="675"/>
                  </a:lnTo>
                  <a:lnTo>
                    <a:pt x="162" y="703"/>
                  </a:lnTo>
                  <a:lnTo>
                    <a:pt x="147" y="732"/>
                  </a:lnTo>
                  <a:lnTo>
                    <a:pt x="133" y="761"/>
                  </a:lnTo>
                  <a:lnTo>
                    <a:pt x="119" y="791"/>
                  </a:lnTo>
                  <a:lnTo>
                    <a:pt x="106" y="821"/>
                  </a:lnTo>
                  <a:lnTo>
                    <a:pt x="93" y="851"/>
                  </a:lnTo>
                  <a:lnTo>
                    <a:pt x="82" y="882"/>
                  </a:lnTo>
                  <a:lnTo>
                    <a:pt x="71" y="913"/>
                  </a:lnTo>
                  <a:lnTo>
                    <a:pt x="60" y="944"/>
                  </a:lnTo>
                  <a:lnTo>
                    <a:pt x="52" y="975"/>
                  </a:lnTo>
                  <a:lnTo>
                    <a:pt x="43" y="1008"/>
                  </a:lnTo>
                  <a:lnTo>
                    <a:pt x="34" y="1040"/>
                  </a:lnTo>
                  <a:lnTo>
                    <a:pt x="28" y="1073"/>
                  </a:lnTo>
                  <a:lnTo>
                    <a:pt x="21" y="1106"/>
                  </a:lnTo>
                  <a:lnTo>
                    <a:pt x="16" y="1140"/>
                  </a:lnTo>
                  <a:lnTo>
                    <a:pt x="11" y="1173"/>
                  </a:lnTo>
                  <a:lnTo>
                    <a:pt x="8" y="1206"/>
                  </a:lnTo>
                  <a:lnTo>
                    <a:pt x="4" y="1240"/>
                  </a:lnTo>
                  <a:lnTo>
                    <a:pt x="2" y="1275"/>
                  </a:lnTo>
                  <a:lnTo>
                    <a:pt x="1" y="1309"/>
                  </a:lnTo>
                  <a:lnTo>
                    <a:pt x="0" y="1344"/>
                  </a:lnTo>
                  <a:lnTo>
                    <a:pt x="0" y="1344"/>
                  </a:lnTo>
                  <a:lnTo>
                    <a:pt x="1" y="1378"/>
                  </a:lnTo>
                  <a:lnTo>
                    <a:pt x="2" y="1413"/>
                  </a:lnTo>
                  <a:lnTo>
                    <a:pt x="4" y="1447"/>
                  </a:lnTo>
                  <a:lnTo>
                    <a:pt x="8" y="1481"/>
                  </a:lnTo>
                  <a:lnTo>
                    <a:pt x="11" y="1515"/>
                  </a:lnTo>
                  <a:lnTo>
                    <a:pt x="16" y="1548"/>
                  </a:lnTo>
                  <a:lnTo>
                    <a:pt x="21" y="1582"/>
                  </a:lnTo>
                  <a:lnTo>
                    <a:pt x="28" y="1614"/>
                  </a:lnTo>
                  <a:lnTo>
                    <a:pt x="34" y="1647"/>
                  </a:lnTo>
                  <a:lnTo>
                    <a:pt x="43" y="1679"/>
                  </a:lnTo>
                  <a:lnTo>
                    <a:pt x="52" y="1712"/>
                  </a:lnTo>
                  <a:lnTo>
                    <a:pt x="60" y="1743"/>
                  </a:lnTo>
                  <a:lnTo>
                    <a:pt x="71" y="1775"/>
                  </a:lnTo>
                  <a:lnTo>
                    <a:pt x="82" y="1806"/>
                  </a:lnTo>
                  <a:lnTo>
                    <a:pt x="93" y="1836"/>
                  </a:lnTo>
                  <a:lnTo>
                    <a:pt x="106" y="1866"/>
                  </a:lnTo>
                  <a:lnTo>
                    <a:pt x="119" y="1896"/>
                  </a:lnTo>
                  <a:lnTo>
                    <a:pt x="133" y="1926"/>
                  </a:lnTo>
                  <a:lnTo>
                    <a:pt x="147" y="1955"/>
                  </a:lnTo>
                  <a:lnTo>
                    <a:pt x="162" y="1984"/>
                  </a:lnTo>
                  <a:lnTo>
                    <a:pt x="178" y="2012"/>
                  </a:lnTo>
                  <a:lnTo>
                    <a:pt x="194" y="2040"/>
                  </a:lnTo>
                  <a:lnTo>
                    <a:pt x="211" y="2068"/>
                  </a:lnTo>
                  <a:lnTo>
                    <a:pt x="230" y="2095"/>
                  </a:lnTo>
                  <a:lnTo>
                    <a:pt x="248" y="2121"/>
                  </a:lnTo>
                  <a:lnTo>
                    <a:pt x="267" y="2147"/>
                  </a:lnTo>
                  <a:lnTo>
                    <a:pt x="287" y="2173"/>
                  </a:lnTo>
                  <a:lnTo>
                    <a:pt x="307" y="2199"/>
                  </a:lnTo>
                  <a:lnTo>
                    <a:pt x="327" y="2222"/>
                  </a:lnTo>
                  <a:lnTo>
                    <a:pt x="349" y="2247"/>
                  </a:lnTo>
                  <a:lnTo>
                    <a:pt x="371" y="2271"/>
                  </a:lnTo>
                  <a:lnTo>
                    <a:pt x="394" y="2293"/>
                  </a:lnTo>
                  <a:lnTo>
                    <a:pt x="417" y="2316"/>
                  </a:lnTo>
                  <a:lnTo>
                    <a:pt x="440" y="2338"/>
                  </a:lnTo>
                  <a:lnTo>
                    <a:pt x="465" y="2360"/>
                  </a:lnTo>
                  <a:lnTo>
                    <a:pt x="490" y="2380"/>
                  </a:lnTo>
                  <a:lnTo>
                    <a:pt x="514" y="2400"/>
                  </a:lnTo>
                  <a:lnTo>
                    <a:pt x="540" y="2420"/>
                  </a:lnTo>
                  <a:lnTo>
                    <a:pt x="566" y="2439"/>
                  </a:lnTo>
                  <a:lnTo>
                    <a:pt x="593" y="2457"/>
                  </a:lnTo>
                  <a:lnTo>
                    <a:pt x="619" y="2476"/>
                  </a:lnTo>
                  <a:lnTo>
                    <a:pt x="647" y="2493"/>
                  </a:lnTo>
                  <a:lnTo>
                    <a:pt x="675" y="2509"/>
                  </a:lnTo>
                  <a:lnTo>
                    <a:pt x="703" y="2525"/>
                  </a:lnTo>
                  <a:lnTo>
                    <a:pt x="732" y="2540"/>
                  </a:lnTo>
                  <a:lnTo>
                    <a:pt x="761" y="2555"/>
                  </a:lnTo>
                  <a:lnTo>
                    <a:pt x="791" y="2569"/>
                  </a:lnTo>
                  <a:lnTo>
                    <a:pt x="821" y="2582"/>
                  </a:lnTo>
                  <a:lnTo>
                    <a:pt x="851" y="2594"/>
                  </a:lnTo>
                  <a:lnTo>
                    <a:pt x="882" y="2605"/>
                  </a:lnTo>
                  <a:lnTo>
                    <a:pt x="914" y="2616"/>
                  </a:lnTo>
                  <a:lnTo>
                    <a:pt x="945" y="2627"/>
                  </a:lnTo>
                  <a:lnTo>
                    <a:pt x="976" y="2637"/>
                  </a:lnTo>
                  <a:lnTo>
                    <a:pt x="1008" y="2645"/>
                  </a:lnTo>
                  <a:lnTo>
                    <a:pt x="1040" y="2653"/>
                  </a:lnTo>
                  <a:lnTo>
                    <a:pt x="1073" y="2660"/>
                  </a:lnTo>
                  <a:lnTo>
                    <a:pt x="1107" y="2667"/>
                  </a:lnTo>
                  <a:lnTo>
                    <a:pt x="1139" y="2672"/>
                  </a:lnTo>
                  <a:lnTo>
                    <a:pt x="1173" y="2676"/>
                  </a:lnTo>
                  <a:lnTo>
                    <a:pt x="1207" y="2681"/>
                  </a:lnTo>
                  <a:lnTo>
                    <a:pt x="1241" y="2683"/>
                  </a:lnTo>
                  <a:lnTo>
                    <a:pt x="1275" y="2686"/>
                  </a:lnTo>
                  <a:lnTo>
                    <a:pt x="1310" y="2687"/>
                  </a:lnTo>
                  <a:lnTo>
                    <a:pt x="1344" y="2687"/>
                  </a:lnTo>
                  <a:lnTo>
                    <a:pt x="1344" y="2687"/>
                  </a:lnTo>
                  <a:lnTo>
                    <a:pt x="1378" y="2687"/>
                  </a:lnTo>
                  <a:lnTo>
                    <a:pt x="1414" y="2686"/>
                  </a:lnTo>
                  <a:lnTo>
                    <a:pt x="1447" y="2683"/>
                  </a:lnTo>
                  <a:lnTo>
                    <a:pt x="1481" y="2681"/>
                  </a:lnTo>
                  <a:lnTo>
                    <a:pt x="1516" y="2676"/>
                  </a:lnTo>
                  <a:lnTo>
                    <a:pt x="1549" y="2672"/>
                  </a:lnTo>
                  <a:lnTo>
                    <a:pt x="1582" y="2667"/>
                  </a:lnTo>
                  <a:lnTo>
                    <a:pt x="1615" y="2660"/>
                  </a:lnTo>
                  <a:lnTo>
                    <a:pt x="1648" y="2653"/>
                  </a:lnTo>
                  <a:lnTo>
                    <a:pt x="1680" y="2645"/>
                  </a:lnTo>
                  <a:lnTo>
                    <a:pt x="1712" y="2637"/>
                  </a:lnTo>
                  <a:lnTo>
                    <a:pt x="1743" y="2627"/>
                  </a:lnTo>
                  <a:lnTo>
                    <a:pt x="1776" y="2616"/>
                  </a:lnTo>
                  <a:lnTo>
                    <a:pt x="1807" y="2605"/>
                  </a:lnTo>
                  <a:lnTo>
                    <a:pt x="1837" y="2594"/>
                  </a:lnTo>
                  <a:lnTo>
                    <a:pt x="1867" y="2582"/>
                  </a:lnTo>
                  <a:lnTo>
                    <a:pt x="1897" y="2569"/>
                  </a:lnTo>
                  <a:lnTo>
                    <a:pt x="1927" y="2555"/>
                  </a:lnTo>
                  <a:lnTo>
                    <a:pt x="1956" y="2540"/>
                  </a:lnTo>
                  <a:lnTo>
                    <a:pt x="1985" y="2525"/>
                  </a:lnTo>
                  <a:lnTo>
                    <a:pt x="2013" y="2509"/>
                  </a:lnTo>
                  <a:lnTo>
                    <a:pt x="2041" y="2493"/>
                  </a:lnTo>
                  <a:lnTo>
                    <a:pt x="2069" y="2476"/>
                  </a:lnTo>
                  <a:lnTo>
                    <a:pt x="2095" y="2457"/>
                  </a:lnTo>
                  <a:lnTo>
                    <a:pt x="2122" y="2439"/>
                  </a:lnTo>
                  <a:lnTo>
                    <a:pt x="2148" y="2420"/>
                  </a:lnTo>
                  <a:lnTo>
                    <a:pt x="2174" y="2400"/>
                  </a:lnTo>
                  <a:lnTo>
                    <a:pt x="2198" y="2380"/>
                  </a:lnTo>
                  <a:lnTo>
                    <a:pt x="2223" y="2360"/>
                  </a:lnTo>
                  <a:lnTo>
                    <a:pt x="2248" y="2338"/>
                  </a:lnTo>
                  <a:lnTo>
                    <a:pt x="2271" y="2316"/>
                  </a:lnTo>
                  <a:lnTo>
                    <a:pt x="2294" y="2293"/>
                  </a:lnTo>
                  <a:lnTo>
                    <a:pt x="2317" y="2271"/>
                  </a:lnTo>
                  <a:lnTo>
                    <a:pt x="2339" y="2247"/>
                  </a:lnTo>
                  <a:lnTo>
                    <a:pt x="2361" y="2222"/>
                  </a:lnTo>
                  <a:lnTo>
                    <a:pt x="2381" y="2199"/>
                  </a:lnTo>
                  <a:lnTo>
                    <a:pt x="2401" y="2173"/>
                  </a:lnTo>
                  <a:lnTo>
                    <a:pt x="2421" y="2147"/>
                  </a:lnTo>
                  <a:lnTo>
                    <a:pt x="2440" y="2121"/>
                  </a:lnTo>
                  <a:lnTo>
                    <a:pt x="2458" y="2095"/>
                  </a:lnTo>
                  <a:lnTo>
                    <a:pt x="2477" y="2068"/>
                  </a:lnTo>
                  <a:lnTo>
                    <a:pt x="2494" y="2040"/>
                  </a:lnTo>
                  <a:lnTo>
                    <a:pt x="2510" y="2012"/>
                  </a:lnTo>
                  <a:lnTo>
                    <a:pt x="2526" y="1984"/>
                  </a:lnTo>
                  <a:lnTo>
                    <a:pt x="2541" y="1955"/>
                  </a:lnTo>
                  <a:lnTo>
                    <a:pt x="2556" y="1926"/>
                  </a:lnTo>
                  <a:lnTo>
                    <a:pt x="2569" y="1896"/>
                  </a:lnTo>
                  <a:lnTo>
                    <a:pt x="2583" y="1866"/>
                  </a:lnTo>
                  <a:lnTo>
                    <a:pt x="2595" y="1836"/>
                  </a:lnTo>
                  <a:lnTo>
                    <a:pt x="2606" y="1806"/>
                  </a:lnTo>
                  <a:lnTo>
                    <a:pt x="2617" y="1775"/>
                  </a:lnTo>
                  <a:lnTo>
                    <a:pt x="2628" y="1743"/>
                  </a:lnTo>
                  <a:lnTo>
                    <a:pt x="2638" y="1712"/>
                  </a:lnTo>
                  <a:lnTo>
                    <a:pt x="2646" y="1679"/>
                  </a:lnTo>
                  <a:lnTo>
                    <a:pt x="2654" y="1647"/>
                  </a:lnTo>
                  <a:lnTo>
                    <a:pt x="2661" y="1614"/>
                  </a:lnTo>
                  <a:lnTo>
                    <a:pt x="2668" y="1582"/>
                  </a:lnTo>
                  <a:lnTo>
                    <a:pt x="2673" y="1548"/>
                  </a:lnTo>
                  <a:lnTo>
                    <a:pt x="2677" y="1515"/>
                  </a:lnTo>
                  <a:lnTo>
                    <a:pt x="2682" y="1481"/>
                  </a:lnTo>
                  <a:lnTo>
                    <a:pt x="2684" y="1447"/>
                  </a:lnTo>
                  <a:lnTo>
                    <a:pt x="2686" y="1413"/>
                  </a:lnTo>
                  <a:lnTo>
                    <a:pt x="2688" y="1378"/>
                  </a:lnTo>
                  <a:lnTo>
                    <a:pt x="2688" y="1344"/>
                  </a:lnTo>
                  <a:lnTo>
                    <a:pt x="2688" y="1344"/>
                  </a:lnTo>
                  <a:lnTo>
                    <a:pt x="2688" y="1309"/>
                  </a:lnTo>
                  <a:lnTo>
                    <a:pt x="2686" y="1275"/>
                  </a:lnTo>
                  <a:lnTo>
                    <a:pt x="2684" y="1240"/>
                  </a:lnTo>
                  <a:lnTo>
                    <a:pt x="2682" y="1206"/>
                  </a:lnTo>
                  <a:lnTo>
                    <a:pt x="2677" y="1173"/>
                  </a:lnTo>
                  <a:lnTo>
                    <a:pt x="2673" y="1140"/>
                  </a:lnTo>
                  <a:lnTo>
                    <a:pt x="2668" y="1106"/>
                  </a:lnTo>
                  <a:lnTo>
                    <a:pt x="2661" y="1073"/>
                  </a:lnTo>
                  <a:lnTo>
                    <a:pt x="2654" y="1040"/>
                  </a:lnTo>
                  <a:lnTo>
                    <a:pt x="2646" y="1008"/>
                  </a:lnTo>
                  <a:lnTo>
                    <a:pt x="2638" y="975"/>
                  </a:lnTo>
                  <a:lnTo>
                    <a:pt x="2628" y="944"/>
                  </a:lnTo>
                  <a:lnTo>
                    <a:pt x="2617" y="913"/>
                  </a:lnTo>
                  <a:lnTo>
                    <a:pt x="2606" y="882"/>
                  </a:lnTo>
                  <a:lnTo>
                    <a:pt x="2595" y="851"/>
                  </a:lnTo>
                  <a:lnTo>
                    <a:pt x="2583" y="821"/>
                  </a:lnTo>
                  <a:lnTo>
                    <a:pt x="2569" y="791"/>
                  </a:lnTo>
                  <a:lnTo>
                    <a:pt x="2556" y="761"/>
                  </a:lnTo>
                  <a:lnTo>
                    <a:pt x="2541" y="732"/>
                  </a:lnTo>
                  <a:lnTo>
                    <a:pt x="2526" y="703"/>
                  </a:lnTo>
                  <a:lnTo>
                    <a:pt x="2510" y="675"/>
                  </a:lnTo>
                  <a:lnTo>
                    <a:pt x="2494" y="647"/>
                  </a:lnTo>
                  <a:lnTo>
                    <a:pt x="2477" y="619"/>
                  </a:lnTo>
                  <a:lnTo>
                    <a:pt x="2458" y="592"/>
                  </a:lnTo>
                  <a:lnTo>
                    <a:pt x="2440" y="566"/>
                  </a:lnTo>
                  <a:lnTo>
                    <a:pt x="2421" y="540"/>
                  </a:lnTo>
                  <a:lnTo>
                    <a:pt x="2401" y="514"/>
                  </a:lnTo>
                  <a:lnTo>
                    <a:pt x="2381" y="489"/>
                  </a:lnTo>
                  <a:lnTo>
                    <a:pt x="2361" y="465"/>
                  </a:lnTo>
                  <a:lnTo>
                    <a:pt x="2339" y="440"/>
                  </a:lnTo>
                  <a:lnTo>
                    <a:pt x="2317" y="416"/>
                  </a:lnTo>
                  <a:lnTo>
                    <a:pt x="2294" y="394"/>
                  </a:lnTo>
                  <a:lnTo>
                    <a:pt x="2271" y="371"/>
                  </a:lnTo>
                  <a:lnTo>
                    <a:pt x="2248" y="349"/>
                  </a:lnTo>
                  <a:lnTo>
                    <a:pt x="2223" y="328"/>
                  </a:lnTo>
                  <a:lnTo>
                    <a:pt x="2198" y="307"/>
                  </a:lnTo>
                  <a:lnTo>
                    <a:pt x="2174" y="287"/>
                  </a:lnTo>
                  <a:lnTo>
                    <a:pt x="2148" y="267"/>
                  </a:lnTo>
                  <a:lnTo>
                    <a:pt x="2122" y="248"/>
                  </a:lnTo>
                  <a:lnTo>
                    <a:pt x="2095" y="230"/>
                  </a:lnTo>
                  <a:lnTo>
                    <a:pt x="2069" y="211"/>
                  </a:lnTo>
                  <a:lnTo>
                    <a:pt x="2041" y="194"/>
                  </a:lnTo>
                  <a:lnTo>
                    <a:pt x="2013" y="178"/>
                  </a:lnTo>
                  <a:lnTo>
                    <a:pt x="1985" y="162"/>
                  </a:lnTo>
                  <a:lnTo>
                    <a:pt x="1956" y="147"/>
                  </a:lnTo>
                  <a:lnTo>
                    <a:pt x="1927" y="133"/>
                  </a:lnTo>
                  <a:lnTo>
                    <a:pt x="1897" y="119"/>
                  </a:lnTo>
                  <a:lnTo>
                    <a:pt x="1867" y="106"/>
                  </a:lnTo>
                  <a:lnTo>
                    <a:pt x="1837" y="93"/>
                  </a:lnTo>
                  <a:lnTo>
                    <a:pt x="1807" y="82"/>
                  </a:lnTo>
                  <a:lnTo>
                    <a:pt x="1776" y="71"/>
                  </a:lnTo>
                  <a:lnTo>
                    <a:pt x="1743" y="60"/>
                  </a:lnTo>
                  <a:lnTo>
                    <a:pt x="1712" y="52"/>
                  </a:lnTo>
                  <a:lnTo>
                    <a:pt x="1680" y="43"/>
                  </a:lnTo>
                  <a:lnTo>
                    <a:pt x="1648" y="34"/>
                  </a:lnTo>
                  <a:lnTo>
                    <a:pt x="1615" y="28"/>
                  </a:lnTo>
                  <a:lnTo>
                    <a:pt x="1582" y="21"/>
                  </a:lnTo>
                  <a:lnTo>
                    <a:pt x="1549" y="16"/>
                  </a:lnTo>
                  <a:lnTo>
                    <a:pt x="1516" y="11"/>
                  </a:lnTo>
                  <a:lnTo>
                    <a:pt x="1481" y="8"/>
                  </a:lnTo>
                  <a:lnTo>
                    <a:pt x="1447" y="4"/>
                  </a:lnTo>
                  <a:lnTo>
                    <a:pt x="1414" y="2"/>
                  </a:lnTo>
                  <a:lnTo>
                    <a:pt x="1378" y="1"/>
                  </a:lnTo>
                  <a:lnTo>
                    <a:pt x="1344" y="0"/>
                  </a:lnTo>
                  <a:lnTo>
                    <a:pt x="1344" y="0"/>
                  </a:lnTo>
                  <a:close/>
                  <a:moveTo>
                    <a:pt x="1344" y="2417"/>
                  </a:moveTo>
                  <a:lnTo>
                    <a:pt x="1344" y="2417"/>
                  </a:lnTo>
                  <a:lnTo>
                    <a:pt x="1316" y="2417"/>
                  </a:lnTo>
                  <a:lnTo>
                    <a:pt x="1289" y="2416"/>
                  </a:lnTo>
                  <a:lnTo>
                    <a:pt x="1261" y="2413"/>
                  </a:lnTo>
                  <a:lnTo>
                    <a:pt x="1235" y="2411"/>
                  </a:lnTo>
                  <a:lnTo>
                    <a:pt x="1208" y="2408"/>
                  </a:lnTo>
                  <a:lnTo>
                    <a:pt x="1181" y="2405"/>
                  </a:lnTo>
                  <a:lnTo>
                    <a:pt x="1154" y="2400"/>
                  </a:lnTo>
                  <a:lnTo>
                    <a:pt x="1128" y="2395"/>
                  </a:lnTo>
                  <a:lnTo>
                    <a:pt x="1101" y="2390"/>
                  </a:lnTo>
                  <a:lnTo>
                    <a:pt x="1076" y="2383"/>
                  </a:lnTo>
                  <a:lnTo>
                    <a:pt x="1050" y="2376"/>
                  </a:lnTo>
                  <a:lnTo>
                    <a:pt x="1025" y="2368"/>
                  </a:lnTo>
                  <a:lnTo>
                    <a:pt x="999" y="2361"/>
                  </a:lnTo>
                  <a:lnTo>
                    <a:pt x="975" y="2351"/>
                  </a:lnTo>
                  <a:lnTo>
                    <a:pt x="950" y="2343"/>
                  </a:lnTo>
                  <a:lnTo>
                    <a:pt x="926" y="2333"/>
                  </a:lnTo>
                  <a:lnTo>
                    <a:pt x="879" y="2311"/>
                  </a:lnTo>
                  <a:lnTo>
                    <a:pt x="832" y="2287"/>
                  </a:lnTo>
                  <a:lnTo>
                    <a:pt x="788" y="2261"/>
                  </a:lnTo>
                  <a:lnTo>
                    <a:pt x="744" y="2233"/>
                  </a:lnTo>
                  <a:lnTo>
                    <a:pt x="702" y="2203"/>
                  </a:lnTo>
                  <a:lnTo>
                    <a:pt x="661" y="2172"/>
                  </a:lnTo>
                  <a:lnTo>
                    <a:pt x="623" y="2138"/>
                  </a:lnTo>
                  <a:lnTo>
                    <a:pt x="585" y="2102"/>
                  </a:lnTo>
                  <a:lnTo>
                    <a:pt x="550" y="2066"/>
                  </a:lnTo>
                  <a:lnTo>
                    <a:pt x="516" y="2026"/>
                  </a:lnTo>
                  <a:lnTo>
                    <a:pt x="484" y="1985"/>
                  </a:lnTo>
                  <a:lnTo>
                    <a:pt x="454" y="1943"/>
                  </a:lnTo>
                  <a:lnTo>
                    <a:pt x="426" y="1900"/>
                  </a:lnTo>
                  <a:lnTo>
                    <a:pt x="400" y="1855"/>
                  </a:lnTo>
                  <a:lnTo>
                    <a:pt x="377" y="1809"/>
                  </a:lnTo>
                  <a:lnTo>
                    <a:pt x="355" y="1761"/>
                  </a:lnTo>
                  <a:lnTo>
                    <a:pt x="346" y="1737"/>
                  </a:lnTo>
                  <a:lnTo>
                    <a:pt x="336" y="1713"/>
                  </a:lnTo>
                  <a:lnTo>
                    <a:pt x="327" y="1688"/>
                  </a:lnTo>
                  <a:lnTo>
                    <a:pt x="319" y="1663"/>
                  </a:lnTo>
                  <a:lnTo>
                    <a:pt x="311" y="1638"/>
                  </a:lnTo>
                  <a:lnTo>
                    <a:pt x="305" y="1612"/>
                  </a:lnTo>
                  <a:lnTo>
                    <a:pt x="298" y="1586"/>
                  </a:lnTo>
                  <a:lnTo>
                    <a:pt x="292" y="1560"/>
                  </a:lnTo>
                  <a:lnTo>
                    <a:pt x="288" y="1533"/>
                  </a:lnTo>
                  <a:lnTo>
                    <a:pt x="283" y="1507"/>
                  </a:lnTo>
                  <a:lnTo>
                    <a:pt x="279" y="1481"/>
                  </a:lnTo>
                  <a:lnTo>
                    <a:pt x="276" y="1453"/>
                  </a:lnTo>
                  <a:lnTo>
                    <a:pt x="274" y="1426"/>
                  </a:lnTo>
                  <a:lnTo>
                    <a:pt x="272" y="1399"/>
                  </a:lnTo>
                  <a:lnTo>
                    <a:pt x="272" y="1371"/>
                  </a:lnTo>
                  <a:lnTo>
                    <a:pt x="271" y="1344"/>
                  </a:lnTo>
                  <a:lnTo>
                    <a:pt x="271" y="1344"/>
                  </a:lnTo>
                  <a:lnTo>
                    <a:pt x="272" y="1316"/>
                  </a:lnTo>
                  <a:lnTo>
                    <a:pt x="272" y="1289"/>
                  </a:lnTo>
                  <a:lnTo>
                    <a:pt x="274" y="1261"/>
                  </a:lnTo>
                  <a:lnTo>
                    <a:pt x="276" y="1234"/>
                  </a:lnTo>
                  <a:lnTo>
                    <a:pt x="279" y="1207"/>
                  </a:lnTo>
                  <a:lnTo>
                    <a:pt x="283" y="1180"/>
                  </a:lnTo>
                  <a:lnTo>
                    <a:pt x="288" y="1154"/>
                  </a:lnTo>
                  <a:lnTo>
                    <a:pt x="292" y="1128"/>
                  </a:lnTo>
                  <a:lnTo>
                    <a:pt x="298" y="1101"/>
                  </a:lnTo>
                  <a:lnTo>
                    <a:pt x="305" y="1075"/>
                  </a:lnTo>
                  <a:lnTo>
                    <a:pt x="311" y="1049"/>
                  </a:lnTo>
                  <a:lnTo>
                    <a:pt x="319" y="1025"/>
                  </a:lnTo>
                  <a:lnTo>
                    <a:pt x="327" y="999"/>
                  </a:lnTo>
                  <a:lnTo>
                    <a:pt x="336" y="974"/>
                  </a:lnTo>
                  <a:lnTo>
                    <a:pt x="346" y="951"/>
                  </a:lnTo>
                  <a:lnTo>
                    <a:pt x="355" y="926"/>
                  </a:lnTo>
                  <a:lnTo>
                    <a:pt x="377" y="879"/>
                  </a:lnTo>
                  <a:lnTo>
                    <a:pt x="400" y="833"/>
                  </a:lnTo>
                  <a:lnTo>
                    <a:pt x="426" y="788"/>
                  </a:lnTo>
                  <a:lnTo>
                    <a:pt x="454" y="744"/>
                  </a:lnTo>
                  <a:lnTo>
                    <a:pt x="484" y="702"/>
                  </a:lnTo>
                  <a:lnTo>
                    <a:pt x="516" y="661"/>
                  </a:lnTo>
                  <a:lnTo>
                    <a:pt x="550" y="622"/>
                  </a:lnTo>
                  <a:lnTo>
                    <a:pt x="585" y="585"/>
                  </a:lnTo>
                  <a:lnTo>
                    <a:pt x="623" y="549"/>
                  </a:lnTo>
                  <a:lnTo>
                    <a:pt x="661" y="516"/>
                  </a:lnTo>
                  <a:lnTo>
                    <a:pt x="702" y="484"/>
                  </a:lnTo>
                  <a:lnTo>
                    <a:pt x="744" y="454"/>
                  </a:lnTo>
                  <a:lnTo>
                    <a:pt x="788" y="426"/>
                  </a:lnTo>
                  <a:lnTo>
                    <a:pt x="832" y="400"/>
                  </a:lnTo>
                  <a:lnTo>
                    <a:pt x="879" y="377"/>
                  </a:lnTo>
                  <a:lnTo>
                    <a:pt x="926" y="355"/>
                  </a:lnTo>
                  <a:lnTo>
                    <a:pt x="950" y="346"/>
                  </a:lnTo>
                  <a:lnTo>
                    <a:pt x="975" y="336"/>
                  </a:lnTo>
                  <a:lnTo>
                    <a:pt x="999" y="327"/>
                  </a:lnTo>
                  <a:lnTo>
                    <a:pt x="1025" y="319"/>
                  </a:lnTo>
                  <a:lnTo>
                    <a:pt x="1050" y="311"/>
                  </a:lnTo>
                  <a:lnTo>
                    <a:pt x="1076" y="305"/>
                  </a:lnTo>
                  <a:lnTo>
                    <a:pt x="1101" y="298"/>
                  </a:lnTo>
                  <a:lnTo>
                    <a:pt x="1128" y="293"/>
                  </a:lnTo>
                  <a:lnTo>
                    <a:pt x="1154" y="288"/>
                  </a:lnTo>
                  <a:lnTo>
                    <a:pt x="1181" y="283"/>
                  </a:lnTo>
                  <a:lnTo>
                    <a:pt x="1208" y="279"/>
                  </a:lnTo>
                  <a:lnTo>
                    <a:pt x="1235" y="276"/>
                  </a:lnTo>
                  <a:lnTo>
                    <a:pt x="1261" y="274"/>
                  </a:lnTo>
                  <a:lnTo>
                    <a:pt x="1289" y="273"/>
                  </a:lnTo>
                  <a:lnTo>
                    <a:pt x="1316" y="271"/>
                  </a:lnTo>
                  <a:lnTo>
                    <a:pt x="1344" y="270"/>
                  </a:lnTo>
                  <a:lnTo>
                    <a:pt x="1344" y="270"/>
                  </a:lnTo>
                  <a:lnTo>
                    <a:pt x="1372" y="271"/>
                  </a:lnTo>
                  <a:lnTo>
                    <a:pt x="1400" y="273"/>
                  </a:lnTo>
                  <a:lnTo>
                    <a:pt x="1427" y="274"/>
                  </a:lnTo>
                  <a:lnTo>
                    <a:pt x="1453" y="276"/>
                  </a:lnTo>
                  <a:lnTo>
                    <a:pt x="1480" y="279"/>
                  </a:lnTo>
                  <a:lnTo>
                    <a:pt x="1507" y="283"/>
                  </a:lnTo>
                  <a:lnTo>
                    <a:pt x="1534" y="288"/>
                  </a:lnTo>
                  <a:lnTo>
                    <a:pt x="1561" y="293"/>
                  </a:lnTo>
                  <a:lnTo>
                    <a:pt x="1587" y="298"/>
                  </a:lnTo>
                  <a:lnTo>
                    <a:pt x="1612" y="305"/>
                  </a:lnTo>
                  <a:lnTo>
                    <a:pt x="1638" y="311"/>
                  </a:lnTo>
                  <a:lnTo>
                    <a:pt x="1663" y="319"/>
                  </a:lnTo>
                  <a:lnTo>
                    <a:pt x="1689" y="327"/>
                  </a:lnTo>
                  <a:lnTo>
                    <a:pt x="1713" y="336"/>
                  </a:lnTo>
                  <a:lnTo>
                    <a:pt x="1738" y="346"/>
                  </a:lnTo>
                  <a:lnTo>
                    <a:pt x="1762" y="355"/>
                  </a:lnTo>
                  <a:lnTo>
                    <a:pt x="1810" y="377"/>
                  </a:lnTo>
                  <a:lnTo>
                    <a:pt x="1856" y="400"/>
                  </a:lnTo>
                  <a:lnTo>
                    <a:pt x="1901" y="426"/>
                  </a:lnTo>
                  <a:lnTo>
                    <a:pt x="1944" y="454"/>
                  </a:lnTo>
                  <a:lnTo>
                    <a:pt x="1986" y="484"/>
                  </a:lnTo>
                  <a:lnTo>
                    <a:pt x="2027" y="516"/>
                  </a:lnTo>
                  <a:lnTo>
                    <a:pt x="2065" y="549"/>
                  </a:lnTo>
                  <a:lnTo>
                    <a:pt x="2103" y="585"/>
                  </a:lnTo>
                  <a:lnTo>
                    <a:pt x="2138" y="622"/>
                  </a:lnTo>
                  <a:lnTo>
                    <a:pt x="2173" y="661"/>
                  </a:lnTo>
                  <a:lnTo>
                    <a:pt x="2204" y="702"/>
                  </a:lnTo>
                  <a:lnTo>
                    <a:pt x="2234" y="744"/>
                  </a:lnTo>
                  <a:lnTo>
                    <a:pt x="2262" y="788"/>
                  </a:lnTo>
                  <a:lnTo>
                    <a:pt x="2288" y="833"/>
                  </a:lnTo>
                  <a:lnTo>
                    <a:pt x="2311" y="879"/>
                  </a:lnTo>
                  <a:lnTo>
                    <a:pt x="2333" y="926"/>
                  </a:lnTo>
                  <a:lnTo>
                    <a:pt x="2343" y="951"/>
                  </a:lnTo>
                  <a:lnTo>
                    <a:pt x="2352" y="974"/>
                  </a:lnTo>
                  <a:lnTo>
                    <a:pt x="2362" y="999"/>
                  </a:lnTo>
                  <a:lnTo>
                    <a:pt x="2369" y="1025"/>
                  </a:lnTo>
                  <a:lnTo>
                    <a:pt x="2377" y="1049"/>
                  </a:lnTo>
                  <a:lnTo>
                    <a:pt x="2384" y="1075"/>
                  </a:lnTo>
                  <a:lnTo>
                    <a:pt x="2390" y="1101"/>
                  </a:lnTo>
                  <a:lnTo>
                    <a:pt x="2396" y="1128"/>
                  </a:lnTo>
                  <a:lnTo>
                    <a:pt x="2400" y="1154"/>
                  </a:lnTo>
                  <a:lnTo>
                    <a:pt x="2406" y="1180"/>
                  </a:lnTo>
                  <a:lnTo>
                    <a:pt x="2409" y="1207"/>
                  </a:lnTo>
                  <a:lnTo>
                    <a:pt x="2412" y="1234"/>
                  </a:lnTo>
                  <a:lnTo>
                    <a:pt x="2414" y="1261"/>
                  </a:lnTo>
                  <a:lnTo>
                    <a:pt x="2416" y="1289"/>
                  </a:lnTo>
                  <a:lnTo>
                    <a:pt x="2417" y="1316"/>
                  </a:lnTo>
                  <a:lnTo>
                    <a:pt x="2417" y="1344"/>
                  </a:lnTo>
                  <a:lnTo>
                    <a:pt x="2417" y="1344"/>
                  </a:lnTo>
                  <a:lnTo>
                    <a:pt x="2417" y="1371"/>
                  </a:lnTo>
                  <a:lnTo>
                    <a:pt x="2416" y="1399"/>
                  </a:lnTo>
                  <a:lnTo>
                    <a:pt x="2414" y="1426"/>
                  </a:lnTo>
                  <a:lnTo>
                    <a:pt x="2412" y="1453"/>
                  </a:lnTo>
                  <a:lnTo>
                    <a:pt x="2409" y="1481"/>
                  </a:lnTo>
                  <a:lnTo>
                    <a:pt x="2406" y="1507"/>
                  </a:lnTo>
                  <a:lnTo>
                    <a:pt x="2400" y="1533"/>
                  </a:lnTo>
                  <a:lnTo>
                    <a:pt x="2396" y="1560"/>
                  </a:lnTo>
                  <a:lnTo>
                    <a:pt x="2390" y="1586"/>
                  </a:lnTo>
                  <a:lnTo>
                    <a:pt x="2384" y="1612"/>
                  </a:lnTo>
                  <a:lnTo>
                    <a:pt x="2377" y="1638"/>
                  </a:lnTo>
                  <a:lnTo>
                    <a:pt x="2369" y="1663"/>
                  </a:lnTo>
                  <a:lnTo>
                    <a:pt x="2362" y="1688"/>
                  </a:lnTo>
                  <a:lnTo>
                    <a:pt x="2352" y="1713"/>
                  </a:lnTo>
                  <a:lnTo>
                    <a:pt x="2343" y="1737"/>
                  </a:lnTo>
                  <a:lnTo>
                    <a:pt x="2333" y="1761"/>
                  </a:lnTo>
                  <a:lnTo>
                    <a:pt x="2311" y="1809"/>
                  </a:lnTo>
                  <a:lnTo>
                    <a:pt x="2288" y="1855"/>
                  </a:lnTo>
                  <a:lnTo>
                    <a:pt x="2262" y="1900"/>
                  </a:lnTo>
                  <a:lnTo>
                    <a:pt x="2234" y="1943"/>
                  </a:lnTo>
                  <a:lnTo>
                    <a:pt x="2204" y="1985"/>
                  </a:lnTo>
                  <a:lnTo>
                    <a:pt x="2173" y="2026"/>
                  </a:lnTo>
                  <a:lnTo>
                    <a:pt x="2138" y="2066"/>
                  </a:lnTo>
                  <a:lnTo>
                    <a:pt x="2103" y="2102"/>
                  </a:lnTo>
                  <a:lnTo>
                    <a:pt x="2065" y="2138"/>
                  </a:lnTo>
                  <a:lnTo>
                    <a:pt x="2027" y="2172"/>
                  </a:lnTo>
                  <a:lnTo>
                    <a:pt x="1986" y="2203"/>
                  </a:lnTo>
                  <a:lnTo>
                    <a:pt x="1944" y="2233"/>
                  </a:lnTo>
                  <a:lnTo>
                    <a:pt x="1901" y="2261"/>
                  </a:lnTo>
                  <a:lnTo>
                    <a:pt x="1856" y="2287"/>
                  </a:lnTo>
                  <a:lnTo>
                    <a:pt x="1810" y="2311"/>
                  </a:lnTo>
                  <a:lnTo>
                    <a:pt x="1762" y="2333"/>
                  </a:lnTo>
                  <a:lnTo>
                    <a:pt x="1738" y="2343"/>
                  </a:lnTo>
                  <a:lnTo>
                    <a:pt x="1713" y="2351"/>
                  </a:lnTo>
                  <a:lnTo>
                    <a:pt x="1689" y="2361"/>
                  </a:lnTo>
                  <a:lnTo>
                    <a:pt x="1663" y="2368"/>
                  </a:lnTo>
                  <a:lnTo>
                    <a:pt x="1638" y="2376"/>
                  </a:lnTo>
                  <a:lnTo>
                    <a:pt x="1612" y="2383"/>
                  </a:lnTo>
                  <a:lnTo>
                    <a:pt x="1587" y="2390"/>
                  </a:lnTo>
                  <a:lnTo>
                    <a:pt x="1561" y="2395"/>
                  </a:lnTo>
                  <a:lnTo>
                    <a:pt x="1534" y="2400"/>
                  </a:lnTo>
                  <a:lnTo>
                    <a:pt x="1507" y="2405"/>
                  </a:lnTo>
                  <a:lnTo>
                    <a:pt x="1480" y="2408"/>
                  </a:lnTo>
                  <a:lnTo>
                    <a:pt x="1453" y="2411"/>
                  </a:lnTo>
                  <a:lnTo>
                    <a:pt x="1427" y="2413"/>
                  </a:lnTo>
                  <a:lnTo>
                    <a:pt x="1400" y="2416"/>
                  </a:lnTo>
                  <a:lnTo>
                    <a:pt x="1372" y="2417"/>
                  </a:lnTo>
                  <a:lnTo>
                    <a:pt x="1344" y="2417"/>
                  </a:lnTo>
                  <a:lnTo>
                    <a:pt x="1344" y="24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1" name="Freeform 6">
              <a:hlinkClick r:id="rId3"/>
              <a:extLst>
                <a:ext uri="{FF2B5EF4-FFF2-40B4-BE49-F238E27FC236}">
                  <a16:creationId xmlns:a16="http://schemas.microsoft.com/office/drawing/2014/main" id="{559DB1CB-A9D4-4F2E-8A52-DE7EFE8FDCAA}"/>
                </a:ext>
              </a:extLst>
            </p:cNvPr>
            <p:cNvSpPr>
              <a:spLocks/>
            </p:cNvSpPr>
            <p:nvPr/>
          </p:nvSpPr>
          <p:spPr bwMode="auto">
            <a:xfrm>
              <a:off x="5065714" y="1663701"/>
              <a:ext cx="1377948" cy="1592264"/>
            </a:xfrm>
            <a:custGeom>
              <a:avLst/>
              <a:gdLst>
                <a:gd name="T0" fmla="*/ 0 w 868"/>
                <a:gd name="T1" fmla="*/ 1003 h 1003"/>
                <a:gd name="T2" fmla="*/ 0 w 868"/>
                <a:gd name="T3" fmla="*/ 0 h 1003"/>
                <a:gd name="T4" fmla="*/ 868 w 868"/>
                <a:gd name="T5" fmla="*/ 502 h 1003"/>
                <a:gd name="T6" fmla="*/ 0 w 868"/>
                <a:gd name="T7" fmla="*/ 1003 h 1003"/>
              </a:gdLst>
              <a:ahLst/>
              <a:cxnLst>
                <a:cxn ang="0">
                  <a:pos x="T0" y="T1"/>
                </a:cxn>
                <a:cxn ang="0">
                  <a:pos x="T2" y="T3"/>
                </a:cxn>
                <a:cxn ang="0">
                  <a:pos x="T4" y="T5"/>
                </a:cxn>
                <a:cxn ang="0">
                  <a:pos x="T6" y="T7"/>
                </a:cxn>
              </a:cxnLst>
              <a:rect l="0" t="0" r="r" b="b"/>
              <a:pathLst>
                <a:path w="868" h="1003">
                  <a:moveTo>
                    <a:pt x="0" y="1003"/>
                  </a:moveTo>
                  <a:lnTo>
                    <a:pt x="0" y="0"/>
                  </a:lnTo>
                  <a:lnTo>
                    <a:pt x="868" y="502"/>
                  </a:lnTo>
                  <a:lnTo>
                    <a:pt x="0" y="10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BFD6"/>
                </a:solidFill>
                <a:effectLst/>
                <a:uLnTx/>
                <a:uFillTx/>
                <a:latin typeface="Arial"/>
                <a:ea typeface="+mn-ea"/>
                <a:cs typeface="+mn-cs"/>
              </a:endParaRPr>
            </a:p>
          </p:txBody>
        </p:sp>
      </p:grpSp>
      <p:pic>
        <p:nvPicPr>
          <p:cNvPr id="11" name="Picture 2">
            <a:extLst>
              <a:ext uri="{FF2B5EF4-FFF2-40B4-BE49-F238E27FC236}">
                <a16:creationId xmlns:a16="http://schemas.microsoft.com/office/drawing/2014/main" id="{3BF4E536-8D28-4FC7-BE2A-D0CCA425A5F6}"/>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1300" t="1043" r="17651" b="1137"/>
          <a:stretch/>
        </p:blipFill>
        <p:spPr bwMode="auto">
          <a:xfrm>
            <a:off x="7793066" y="1279343"/>
            <a:ext cx="5216757" cy="4788257"/>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E921E615-7637-4EE2-BB84-85EC96D49BD0}"/>
              </a:ext>
            </a:extLst>
          </p:cNvPr>
          <p:cNvSpPr/>
          <p:nvPr/>
        </p:nvSpPr>
        <p:spPr>
          <a:xfrm>
            <a:off x="11695039" y="6174346"/>
            <a:ext cx="1314784" cy="194925"/>
          </a:xfrm>
          <a:prstGeom prst="rect">
            <a:avLst/>
          </a:prstGeom>
        </p:spPr>
        <p:txBody>
          <a:bodyPr wrap="none">
            <a:spAutoFit/>
          </a:bodyPr>
          <a:lstStyle/>
          <a:p>
            <a:pPr lvl="0" algn="r">
              <a:lnSpc>
                <a:spcPts val="842"/>
              </a:lnSpc>
              <a:buClr>
                <a:srgbClr val="FFFFFF"/>
              </a:buClr>
              <a:buSzPct val="100000"/>
            </a:pPr>
            <a:r>
              <a:rPr lang="en-GB" sz="700" b="1" dirty="0">
                <a:solidFill>
                  <a:srgbClr val="000000"/>
                </a:solidFill>
              </a:rPr>
              <a:t>Source: </a:t>
            </a:r>
            <a:r>
              <a:rPr lang="en-GB" sz="700" dirty="0">
                <a:solidFill>
                  <a:srgbClr val="000000"/>
                </a:solidFill>
              </a:rPr>
              <a:t>1. </a:t>
            </a:r>
            <a:r>
              <a:rPr lang="en-GB" sz="700" dirty="0">
                <a:solidFill>
                  <a:schemeClr val="bg1"/>
                </a:solidFill>
              </a:rPr>
              <a:t>Industry Figures.</a:t>
            </a:r>
            <a:endParaRPr lang="en-US" sz="700" dirty="0">
              <a:solidFill>
                <a:srgbClr val="000000"/>
              </a:solidFill>
            </a:endParaRPr>
          </a:p>
        </p:txBody>
      </p:sp>
      <p:grpSp>
        <p:nvGrpSpPr>
          <p:cNvPr id="14" name="Group 13">
            <a:extLst>
              <a:ext uri="{FF2B5EF4-FFF2-40B4-BE49-F238E27FC236}">
                <a16:creationId xmlns:a16="http://schemas.microsoft.com/office/drawing/2014/main" id="{A892B87D-C68F-4E05-9AE5-B48D89EA4144}"/>
              </a:ext>
            </a:extLst>
          </p:cNvPr>
          <p:cNvGrpSpPr/>
          <p:nvPr/>
        </p:nvGrpSpPr>
        <p:grpSpPr>
          <a:xfrm>
            <a:off x="9836714" y="3108951"/>
            <a:ext cx="1129460" cy="1129040"/>
            <a:chOff x="3429000" y="327025"/>
            <a:chExt cx="4267200" cy="4265613"/>
          </a:xfrm>
          <a:solidFill>
            <a:srgbClr val="FFFFFF">
              <a:alpha val="80000"/>
            </a:srgbClr>
          </a:solidFill>
        </p:grpSpPr>
        <p:sp>
          <p:nvSpPr>
            <p:cNvPr id="15" name="Freeform 5">
              <a:extLst>
                <a:ext uri="{FF2B5EF4-FFF2-40B4-BE49-F238E27FC236}">
                  <a16:creationId xmlns:a16="http://schemas.microsoft.com/office/drawing/2014/main" id="{EA53D2D6-9516-43AE-B962-D9A0083BDAD9}"/>
                </a:ext>
              </a:extLst>
            </p:cNvPr>
            <p:cNvSpPr>
              <a:spLocks noEditPoints="1"/>
            </p:cNvSpPr>
            <p:nvPr/>
          </p:nvSpPr>
          <p:spPr bwMode="auto">
            <a:xfrm>
              <a:off x="3429000" y="327025"/>
              <a:ext cx="4267200" cy="4265613"/>
            </a:xfrm>
            <a:custGeom>
              <a:avLst/>
              <a:gdLst>
                <a:gd name="T0" fmla="*/ 1139 w 2688"/>
                <a:gd name="T1" fmla="*/ 16 h 2687"/>
                <a:gd name="T2" fmla="*/ 882 w 2688"/>
                <a:gd name="T3" fmla="*/ 82 h 2687"/>
                <a:gd name="T4" fmla="*/ 647 w 2688"/>
                <a:gd name="T5" fmla="*/ 194 h 2687"/>
                <a:gd name="T6" fmla="*/ 440 w 2688"/>
                <a:gd name="T7" fmla="*/ 349 h 2687"/>
                <a:gd name="T8" fmla="*/ 267 w 2688"/>
                <a:gd name="T9" fmla="*/ 540 h 2687"/>
                <a:gd name="T10" fmla="*/ 133 w 2688"/>
                <a:gd name="T11" fmla="*/ 761 h 2687"/>
                <a:gd name="T12" fmla="*/ 43 w 2688"/>
                <a:gd name="T13" fmla="*/ 1008 h 2687"/>
                <a:gd name="T14" fmla="*/ 2 w 2688"/>
                <a:gd name="T15" fmla="*/ 1275 h 2687"/>
                <a:gd name="T16" fmla="*/ 11 w 2688"/>
                <a:gd name="T17" fmla="*/ 1515 h 2687"/>
                <a:gd name="T18" fmla="*/ 71 w 2688"/>
                <a:gd name="T19" fmla="*/ 1775 h 2687"/>
                <a:gd name="T20" fmla="*/ 178 w 2688"/>
                <a:gd name="T21" fmla="*/ 2012 h 2687"/>
                <a:gd name="T22" fmla="*/ 327 w 2688"/>
                <a:gd name="T23" fmla="*/ 2222 h 2687"/>
                <a:gd name="T24" fmla="*/ 514 w 2688"/>
                <a:gd name="T25" fmla="*/ 2400 h 2687"/>
                <a:gd name="T26" fmla="*/ 732 w 2688"/>
                <a:gd name="T27" fmla="*/ 2540 h 2687"/>
                <a:gd name="T28" fmla="*/ 976 w 2688"/>
                <a:gd name="T29" fmla="*/ 2637 h 2687"/>
                <a:gd name="T30" fmla="*/ 1241 w 2688"/>
                <a:gd name="T31" fmla="*/ 2683 h 2687"/>
                <a:gd name="T32" fmla="*/ 1481 w 2688"/>
                <a:gd name="T33" fmla="*/ 2681 h 2687"/>
                <a:gd name="T34" fmla="*/ 1743 w 2688"/>
                <a:gd name="T35" fmla="*/ 2627 h 2687"/>
                <a:gd name="T36" fmla="*/ 1985 w 2688"/>
                <a:gd name="T37" fmla="*/ 2525 h 2687"/>
                <a:gd name="T38" fmla="*/ 2198 w 2688"/>
                <a:gd name="T39" fmla="*/ 2380 h 2687"/>
                <a:gd name="T40" fmla="*/ 2381 w 2688"/>
                <a:gd name="T41" fmla="*/ 2199 h 2687"/>
                <a:gd name="T42" fmla="*/ 2526 w 2688"/>
                <a:gd name="T43" fmla="*/ 1984 h 2687"/>
                <a:gd name="T44" fmla="*/ 2628 w 2688"/>
                <a:gd name="T45" fmla="*/ 1743 h 2687"/>
                <a:gd name="T46" fmla="*/ 2682 w 2688"/>
                <a:gd name="T47" fmla="*/ 1481 h 2687"/>
                <a:gd name="T48" fmla="*/ 2684 w 2688"/>
                <a:gd name="T49" fmla="*/ 1240 h 2687"/>
                <a:gd name="T50" fmla="*/ 2638 w 2688"/>
                <a:gd name="T51" fmla="*/ 975 h 2687"/>
                <a:gd name="T52" fmla="*/ 2541 w 2688"/>
                <a:gd name="T53" fmla="*/ 732 h 2687"/>
                <a:gd name="T54" fmla="*/ 2401 w 2688"/>
                <a:gd name="T55" fmla="*/ 514 h 2687"/>
                <a:gd name="T56" fmla="*/ 2223 w 2688"/>
                <a:gd name="T57" fmla="*/ 328 h 2687"/>
                <a:gd name="T58" fmla="*/ 2013 w 2688"/>
                <a:gd name="T59" fmla="*/ 178 h 2687"/>
                <a:gd name="T60" fmla="*/ 1776 w 2688"/>
                <a:gd name="T61" fmla="*/ 71 h 2687"/>
                <a:gd name="T62" fmla="*/ 1516 w 2688"/>
                <a:gd name="T63" fmla="*/ 11 h 2687"/>
                <a:gd name="T64" fmla="*/ 1344 w 2688"/>
                <a:gd name="T65" fmla="*/ 2417 h 2687"/>
                <a:gd name="T66" fmla="*/ 1128 w 2688"/>
                <a:gd name="T67" fmla="*/ 2395 h 2687"/>
                <a:gd name="T68" fmla="*/ 926 w 2688"/>
                <a:gd name="T69" fmla="*/ 2333 h 2687"/>
                <a:gd name="T70" fmla="*/ 585 w 2688"/>
                <a:gd name="T71" fmla="*/ 2102 h 2687"/>
                <a:gd name="T72" fmla="*/ 355 w 2688"/>
                <a:gd name="T73" fmla="*/ 1761 h 2687"/>
                <a:gd name="T74" fmla="*/ 292 w 2688"/>
                <a:gd name="T75" fmla="*/ 1560 h 2687"/>
                <a:gd name="T76" fmla="*/ 271 w 2688"/>
                <a:gd name="T77" fmla="*/ 1344 h 2687"/>
                <a:gd name="T78" fmla="*/ 288 w 2688"/>
                <a:gd name="T79" fmla="*/ 1154 h 2687"/>
                <a:gd name="T80" fmla="*/ 346 w 2688"/>
                <a:gd name="T81" fmla="*/ 951 h 2687"/>
                <a:gd name="T82" fmla="*/ 550 w 2688"/>
                <a:gd name="T83" fmla="*/ 622 h 2687"/>
                <a:gd name="T84" fmla="*/ 879 w 2688"/>
                <a:gd name="T85" fmla="*/ 377 h 2687"/>
                <a:gd name="T86" fmla="*/ 1101 w 2688"/>
                <a:gd name="T87" fmla="*/ 298 h 2687"/>
                <a:gd name="T88" fmla="*/ 1316 w 2688"/>
                <a:gd name="T89" fmla="*/ 271 h 2687"/>
                <a:gd name="T90" fmla="*/ 1507 w 2688"/>
                <a:gd name="T91" fmla="*/ 283 h 2687"/>
                <a:gd name="T92" fmla="*/ 1713 w 2688"/>
                <a:gd name="T93" fmla="*/ 336 h 2687"/>
                <a:gd name="T94" fmla="*/ 2027 w 2688"/>
                <a:gd name="T95" fmla="*/ 516 h 2687"/>
                <a:gd name="T96" fmla="*/ 2288 w 2688"/>
                <a:gd name="T97" fmla="*/ 833 h 2687"/>
                <a:gd name="T98" fmla="*/ 2384 w 2688"/>
                <a:gd name="T99" fmla="*/ 1075 h 2687"/>
                <a:gd name="T100" fmla="*/ 2416 w 2688"/>
                <a:gd name="T101" fmla="*/ 1289 h 2687"/>
                <a:gd name="T102" fmla="*/ 2409 w 2688"/>
                <a:gd name="T103" fmla="*/ 1481 h 2687"/>
                <a:gd name="T104" fmla="*/ 2362 w 2688"/>
                <a:gd name="T105" fmla="*/ 1688 h 2687"/>
                <a:gd name="T106" fmla="*/ 2204 w 2688"/>
                <a:gd name="T107" fmla="*/ 1985 h 2687"/>
                <a:gd name="T108" fmla="*/ 1901 w 2688"/>
                <a:gd name="T109" fmla="*/ 2261 h 2687"/>
                <a:gd name="T110" fmla="*/ 1638 w 2688"/>
                <a:gd name="T111" fmla="*/ 2376 h 2687"/>
                <a:gd name="T112" fmla="*/ 1427 w 2688"/>
                <a:gd name="T113" fmla="*/ 2413 h 2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88" h="2687">
                  <a:moveTo>
                    <a:pt x="1344" y="0"/>
                  </a:moveTo>
                  <a:lnTo>
                    <a:pt x="1344" y="0"/>
                  </a:lnTo>
                  <a:lnTo>
                    <a:pt x="1310" y="1"/>
                  </a:lnTo>
                  <a:lnTo>
                    <a:pt x="1275" y="2"/>
                  </a:lnTo>
                  <a:lnTo>
                    <a:pt x="1241" y="4"/>
                  </a:lnTo>
                  <a:lnTo>
                    <a:pt x="1207" y="8"/>
                  </a:lnTo>
                  <a:lnTo>
                    <a:pt x="1173" y="11"/>
                  </a:lnTo>
                  <a:lnTo>
                    <a:pt x="1139" y="16"/>
                  </a:lnTo>
                  <a:lnTo>
                    <a:pt x="1107" y="21"/>
                  </a:lnTo>
                  <a:lnTo>
                    <a:pt x="1073" y="28"/>
                  </a:lnTo>
                  <a:lnTo>
                    <a:pt x="1040" y="34"/>
                  </a:lnTo>
                  <a:lnTo>
                    <a:pt x="1008" y="43"/>
                  </a:lnTo>
                  <a:lnTo>
                    <a:pt x="976" y="52"/>
                  </a:lnTo>
                  <a:lnTo>
                    <a:pt x="945" y="60"/>
                  </a:lnTo>
                  <a:lnTo>
                    <a:pt x="914" y="71"/>
                  </a:lnTo>
                  <a:lnTo>
                    <a:pt x="882" y="82"/>
                  </a:lnTo>
                  <a:lnTo>
                    <a:pt x="851" y="93"/>
                  </a:lnTo>
                  <a:lnTo>
                    <a:pt x="821" y="106"/>
                  </a:lnTo>
                  <a:lnTo>
                    <a:pt x="791" y="119"/>
                  </a:lnTo>
                  <a:lnTo>
                    <a:pt x="761" y="133"/>
                  </a:lnTo>
                  <a:lnTo>
                    <a:pt x="732" y="147"/>
                  </a:lnTo>
                  <a:lnTo>
                    <a:pt x="703" y="162"/>
                  </a:lnTo>
                  <a:lnTo>
                    <a:pt x="675" y="178"/>
                  </a:lnTo>
                  <a:lnTo>
                    <a:pt x="647" y="194"/>
                  </a:lnTo>
                  <a:lnTo>
                    <a:pt x="619" y="211"/>
                  </a:lnTo>
                  <a:lnTo>
                    <a:pt x="593" y="230"/>
                  </a:lnTo>
                  <a:lnTo>
                    <a:pt x="566" y="248"/>
                  </a:lnTo>
                  <a:lnTo>
                    <a:pt x="540" y="267"/>
                  </a:lnTo>
                  <a:lnTo>
                    <a:pt x="514" y="287"/>
                  </a:lnTo>
                  <a:lnTo>
                    <a:pt x="490" y="307"/>
                  </a:lnTo>
                  <a:lnTo>
                    <a:pt x="465" y="328"/>
                  </a:lnTo>
                  <a:lnTo>
                    <a:pt x="440" y="349"/>
                  </a:lnTo>
                  <a:lnTo>
                    <a:pt x="417" y="371"/>
                  </a:lnTo>
                  <a:lnTo>
                    <a:pt x="394" y="394"/>
                  </a:lnTo>
                  <a:lnTo>
                    <a:pt x="371" y="416"/>
                  </a:lnTo>
                  <a:lnTo>
                    <a:pt x="349" y="440"/>
                  </a:lnTo>
                  <a:lnTo>
                    <a:pt x="327" y="465"/>
                  </a:lnTo>
                  <a:lnTo>
                    <a:pt x="307" y="489"/>
                  </a:lnTo>
                  <a:lnTo>
                    <a:pt x="287" y="514"/>
                  </a:lnTo>
                  <a:lnTo>
                    <a:pt x="267" y="540"/>
                  </a:lnTo>
                  <a:lnTo>
                    <a:pt x="248" y="566"/>
                  </a:lnTo>
                  <a:lnTo>
                    <a:pt x="230" y="592"/>
                  </a:lnTo>
                  <a:lnTo>
                    <a:pt x="211" y="619"/>
                  </a:lnTo>
                  <a:lnTo>
                    <a:pt x="194" y="647"/>
                  </a:lnTo>
                  <a:lnTo>
                    <a:pt x="178" y="675"/>
                  </a:lnTo>
                  <a:lnTo>
                    <a:pt x="162" y="703"/>
                  </a:lnTo>
                  <a:lnTo>
                    <a:pt x="147" y="732"/>
                  </a:lnTo>
                  <a:lnTo>
                    <a:pt x="133" y="761"/>
                  </a:lnTo>
                  <a:lnTo>
                    <a:pt x="119" y="791"/>
                  </a:lnTo>
                  <a:lnTo>
                    <a:pt x="106" y="821"/>
                  </a:lnTo>
                  <a:lnTo>
                    <a:pt x="93" y="851"/>
                  </a:lnTo>
                  <a:lnTo>
                    <a:pt x="82" y="882"/>
                  </a:lnTo>
                  <a:lnTo>
                    <a:pt x="71" y="913"/>
                  </a:lnTo>
                  <a:lnTo>
                    <a:pt x="60" y="944"/>
                  </a:lnTo>
                  <a:lnTo>
                    <a:pt x="52" y="975"/>
                  </a:lnTo>
                  <a:lnTo>
                    <a:pt x="43" y="1008"/>
                  </a:lnTo>
                  <a:lnTo>
                    <a:pt x="34" y="1040"/>
                  </a:lnTo>
                  <a:lnTo>
                    <a:pt x="28" y="1073"/>
                  </a:lnTo>
                  <a:lnTo>
                    <a:pt x="21" y="1106"/>
                  </a:lnTo>
                  <a:lnTo>
                    <a:pt x="16" y="1140"/>
                  </a:lnTo>
                  <a:lnTo>
                    <a:pt x="11" y="1173"/>
                  </a:lnTo>
                  <a:lnTo>
                    <a:pt x="8" y="1206"/>
                  </a:lnTo>
                  <a:lnTo>
                    <a:pt x="4" y="1240"/>
                  </a:lnTo>
                  <a:lnTo>
                    <a:pt x="2" y="1275"/>
                  </a:lnTo>
                  <a:lnTo>
                    <a:pt x="1" y="1309"/>
                  </a:lnTo>
                  <a:lnTo>
                    <a:pt x="0" y="1344"/>
                  </a:lnTo>
                  <a:lnTo>
                    <a:pt x="0" y="1344"/>
                  </a:lnTo>
                  <a:lnTo>
                    <a:pt x="1" y="1378"/>
                  </a:lnTo>
                  <a:lnTo>
                    <a:pt x="2" y="1413"/>
                  </a:lnTo>
                  <a:lnTo>
                    <a:pt x="4" y="1447"/>
                  </a:lnTo>
                  <a:lnTo>
                    <a:pt x="8" y="1481"/>
                  </a:lnTo>
                  <a:lnTo>
                    <a:pt x="11" y="1515"/>
                  </a:lnTo>
                  <a:lnTo>
                    <a:pt x="16" y="1548"/>
                  </a:lnTo>
                  <a:lnTo>
                    <a:pt x="21" y="1582"/>
                  </a:lnTo>
                  <a:lnTo>
                    <a:pt x="28" y="1614"/>
                  </a:lnTo>
                  <a:lnTo>
                    <a:pt x="34" y="1647"/>
                  </a:lnTo>
                  <a:lnTo>
                    <a:pt x="43" y="1679"/>
                  </a:lnTo>
                  <a:lnTo>
                    <a:pt x="52" y="1712"/>
                  </a:lnTo>
                  <a:lnTo>
                    <a:pt x="60" y="1743"/>
                  </a:lnTo>
                  <a:lnTo>
                    <a:pt x="71" y="1775"/>
                  </a:lnTo>
                  <a:lnTo>
                    <a:pt x="82" y="1806"/>
                  </a:lnTo>
                  <a:lnTo>
                    <a:pt x="93" y="1836"/>
                  </a:lnTo>
                  <a:lnTo>
                    <a:pt x="106" y="1866"/>
                  </a:lnTo>
                  <a:lnTo>
                    <a:pt x="119" y="1896"/>
                  </a:lnTo>
                  <a:lnTo>
                    <a:pt x="133" y="1926"/>
                  </a:lnTo>
                  <a:lnTo>
                    <a:pt x="147" y="1955"/>
                  </a:lnTo>
                  <a:lnTo>
                    <a:pt x="162" y="1984"/>
                  </a:lnTo>
                  <a:lnTo>
                    <a:pt x="178" y="2012"/>
                  </a:lnTo>
                  <a:lnTo>
                    <a:pt x="194" y="2040"/>
                  </a:lnTo>
                  <a:lnTo>
                    <a:pt x="211" y="2068"/>
                  </a:lnTo>
                  <a:lnTo>
                    <a:pt x="230" y="2095"/>
                  </a:lnTo>
                  <a:lnTo>
                    <a:pt x="248" y="2121"/>
                  </a:lnTo>
                  <a:lnTo>
                    <a:pt x="267" y="2147"/>
                  </a:lnTo>
                  <a:lnTo>
                    <a:pt x="287" y="2173"/>
                  </a:lnTo>
                  <a:lnTo>
                    <a:pt x="307" y="2199"/>
                  </a:lnTo>
                  <a:lnTo>
                    <a:pt x="327" y="2222"/>
                  </a:lnTo>
                  <a:lnTo>
                    <a:pt x="349" y="2247"/>
                  </a:lnTo>
                  <a:lnTo>
                    <a:pt x="371" y="2271"/>
                  </a:lnTo>
                  <a:lnTo>
                    <a:pt x="394" y="2293"/>
                  </a:lnTo>
                  <a:lnTo>
                    <a:pt x="417" y="2316"/>
                  </a:lnTo>
                  <a:lnTo>
                    <a:pt x="440" y="2338"/>
                  </a:lnTo>
                  <a:lnTo>
                    <a:pt x="465" y="2360"/>
                  </a:lnTo>
                  <a:lnTo>
                    <a:pt x="490" y="2380"/>
                  </a:lnTo>
                  <a:lnTo>
                    <a:pt x="514" y="2400"/>
                  </a:lnTo>
                  <a:lnTo>
                    <a:pt x="540" y="2420"/>
                  </a:lnTo>
                  <a:lnTo>
                    <a:pt x="566" y="2439"/>
                  </a:lnTo>
                  <a:lnTo>
                    <a:pt x="593" y="2457"/>
                  </a:lnTo>
                  <a:lnTo>
                    <a:pt x="619" y="2476"/>
                  </a:lnTo>
                  <a:lnTo>
                    <a:pt x="647" y="2493"/>
                  </a:lnTo>
                  <a:lnTo>
                    <a:pt x="675" y="2509"/>
                  </a:lnTo>
                  <a:lnTo>
                    <a:pt x="703" y="2525"/>
                  </a:lnTo>
                  <a:lnTo>
                    <a:pt x="732" y="2540"/>
                  </a:lnTo>
                  <a:lnTo>
                    <a:pt x="761" y="2555"/>
                  </a:lnTo>
                  <a:lnTo>
                    <a:pt x="791" y="2569"/>
                  </a:lnTo>
                  <a:lnTo>
                    <a:pt x="821" y="2582"/>
                  </a:lnTo>
                  <a:lnTo>
                    <a:pt x="851" y="2594"/>
                  </a:lnTo>
                  <a:lnTo>
                    <a:pt x="882" y="2605"/>
                  </a:lnTo>
                  <a:lnTo>
                    <a:pt x="914" y="2616"/>
                  </a:lnTo>
                  <a:lnTo>
                    <a:pt x="945" y="2627"/>
                  </a:lnTo>
                  <a:lnTo>
                    <a:pt x="976" y="2637"/>
                  </a:lnTo>
                  <a:lnTo>
                    <a:pt x="1008" y="2645"/>
                  </a:lnTo>
                  <a:lnTo>
                    <a:pt x="1040" y="2653"/>
                  </a:lnTo>
                  <a:lnTo>
                    <a:pt x="1073" y="2660"/>
                  </a:lnTo>
                  <a:lnTo>
                    <a:pt x="1107" y="2667"/>
                  </a:lnTo>
                  <a:lnTo>
                    <a:pt x="1139" y="2672"/>
                  </a:lnTo>
                  <a:lnTo>
                    <a:pt x="1173" y="2676"/>
                  </a:lnTo>
                  <a:lnTo>
                    <a:pt x="1207" y="2681"/>
                  </a:lnTo>
                  <a:lnTo>
                    <a:pt x="1241" y="2683"/>
                  </a:lnTo>
                  <a:lnTo>
                    <a:pt x="1275" y="2686"/>
                  </a:lnTo>
                  <a:lnTo>
                    <a:pt x="1310" y="2687"/>
                  </a:lnTo>
                  <a:lnTo>
                    <a:pt x="1344" y="2687"/>
                  </a:lnTo>
                  <a:lnTo>
                    <a:pt x="1344" y="2687"/>
                  </a:lnTo>
                  <a:lnTo>
                    <a:pt x="1378" y="2687"/>
                  </a:lnTo>
                  <a:lnTo>
                    <a:pt x="1414" y="2686"/>
                  </a:lnTo>
                  <a:lnTo>
                    <a:pt x="1447" y="2683"/>
                  </a:lnTo>
                  <a:lnTo>
                    <a:pt x="1481" y="2681"/>
                  </a:lnTo>
                  <a:lnTo>
                    <a:pt x="1516" y="2676"/>
                  </a:lnTo>
                  <a:lnTo>
                    <a:pt x="1549" y="2672"/>
                  </a:lnTo>
                  <a:lnTo>
                    <a:pt x="1582" y="2667"/>
                  </a:lnTo>
                  <a:lnTo>
                    <a:pt x="1615" y="2660"/>
                  </a:lnTo>
                  <a:lnTo>
                    <a:pt x="1648" y="2653"/>
                  </a:lnTo>
                  <a:lnTo>
                    <a:pt x="1680" y="2645"/>
                  </a:lnTo>
                  <a:lnTo>
                    <a:pt x="1712" y="2637"/>
                  </a:lnTo>
                  <a:lnTo>
                    <a:pt x="1743" y="2627"/>
                  </a:lnTo>
                  <a:lnTo>
                    <a:pt x="1776" y="2616"/>
                  </a:lnTo>
                  <a:lnTo>
                    <a:pt x="1807" y="2605"/>
                  </a:lnTo>
                  <a:lnTo>
                    <a:pt x="1837" y="2594"/>
                  </a:lnTo>
                  <a:lnTo>
                    <a:pt x="1867" y="2582"/>
                  </a:lnTo>
                  <a:lnTo>
                    <a:pt x="1897" y="2569"/>
                  </a:lnTo>
                  <a:lnTo>
                    <a:pt x="1927" y="2555"/>
                  </a:lnTo>
                  <a:lnTo>
                    <a:pt x="1956" y="2540"/>
                  </a:lnTo>
                  <a:lnTo>
                    <a:pt x="1985" y="2525"/>
                  </a:lnTo>
                  <a:lnTo>
                    <a:pt x="2013" y="2509"/>
                  </a:lnTo>
                  <a:lnTo>
                    <a:pt x="2041" y="2493"/>
                  </a:lnTo>
                  <a:lnTo>
                    <a:pt x="2069" y="2476"/>
                  </a:lnTo>
                  <a:lnTo>
                    <a:pt x="2095" y="2457"/>
                  </a:lnTo>
                  <a:lnTo>
                    <a:pt x="2122" y="2439"/>
                  </a:lnTo>
                  <a:lnTo>
                    <a:pt x="2148" y="2420"/>
                  </a:lnTo>
                  <a:lnTo>
                    <a:pt x="2174" y="2400"/>
                  </a:lnTo>
                  <a:lnTo>
                    <a:pt x="2198" y="2380"/>
                  </a:lnTo>
                  <a:lnTo>
                    <a:pt x="2223" y="2360"/>
                  </a:lnTo>
                  <a:lnTo>
                    <a:pt x="2248" y="2338"/>
                  </a:lnTo>
                  <a:lnTo>
                    <a:pt x="2271" y="2316"/>
                  </a:lnTo>
                  <a:lnTo>
                    <a:pt x="2294" y="2293"/>
                  </a:lnTo>
                  <a:lnTo>
                    <a:pt x="2317" y="2271"/>
                  </a:lnTo>
                  <a:lnTo>
                    <a:pt x="2339" y="2247"/>
                  </a:lnTo>
                  <a:lnTo>
                    <a:pt x="2361" y="2222"/>
                  </a:lnTo>
                  <a:lnTo>
                    <a:pt x="2381" y="2199"/>
                  </a:lnTo>
                  <a:lnTo>
                    <a:pt x="2401" y="2173"/>
                  </a:lnTo>
                  <a:lnTo>
                    <a:pt x="2421" y="2147"/>
                  </a:lnTo>
                  <a:lnTo>
                    <a:pt x="2440" y="2121"/>
                  </a:lnTo>
                  <a:lnTo>
                    <a:pt x="2458" y="2095"/>
                  </a:lnTo>
                  <a:lnTo>
                    <a:pt x="2477" y="2068"/>
                  </a:lnTo>
                  <a:lnTo>
                    <a:pt x="2494" y="2040"/>
                  </a:lnTo>
                  <a:lnTo>
                    <a:pt x="2510" y="2012"/>
                  </a:lnTo>
                  <a:lnTo>
                    <a:pt x="2526" y="1984"/>
                  </a:lnTo>
                  <a:lnTo>
                    <a:pt x="2541" y="1955"/>
                  </a:lnTo>
                  <a:lnTo>
                    <a:pt x="2556" y="1926"/>
                  </a:lnTo>
                  <a:lnTo>
                    <a:pt x="2569" y="1896"/>
                  </a:lnTo>
                  <a:lnTo>
                    <a:pt x="2583" y="1866"/>
                  </a:lnTo>
                  <a:lnTo>
                    <a:pt x="2595" y="1836"/>
                  </a:lnTo>
                  <a:lnTo>
                    <a:pt x="2606" y="1806"/>
                  </a:lnTo>
                  <a:lnTo>
                    <a:pt x="2617" y="1775"/>
                  </a:lnTo>
                  <a:lnTo>
                    <a:pt x="2628" y="1743"/>
                  </a:lnTo>
                  <a:lnTo>
                    <a:pt x="2638" y="1712"/>
                  </a:lnTo>
                  <a:lnTo>
                    <a:pt x="2646" y="1679"/>
                  </a:lnTo>
                  <a:lnTo>
                    <a:pt x="2654" y="1647"/>
                  </a:lnTo>
                  <a:lnTo>
                    <a:pt x="2661" y="1614"/>
                  </a:lnTo>
                  <a:lnTo>
                    <a:pt x="2668" y="1582"/>
                  </a:lnTo>
                  <a:lnTo>
                    <a:pt x="2673" y="1548"/>
                  </a:lnTo>
                  <a:lnTo>
                    <a:pt x="2677" y="1515"/>
                  </a:lnTo>
                  <a:lnTo>
                    <a:pt x="2682" y="1481"/>
                  </a:lnTo>
                  <a:lnTo>
                    <a:pt x="2684" y="1447"/>
                  </a:lnTo>
                  <a:lnTo>
                    <a:pt x="2686" y="1413"/>
                  </a:lnTo>
                  <a:lnTo>
                    <a:pt x="2688" y="1378"/>
                  </a:lnTo>
                  <a:lnTo>
                    <a:pt x="2688" y="1344"/>
                  </a:lnTo>
                  <a:lnTo>
                    <a:pt x="2688" y="1344"/>
                  </a:lnTo>
                  <a:lnTo>
                    <a:pt x="2688" y="1309"/>
                  </a:lnTo>
                  <a:lnTo>
                    <a:pt x="2686" y="1275"/>
                  </a:lnTo>
                  <a:lnTo>
                    <a:pt x="2684" y="1240"/>
                  </a:lnTo>
                  <a:lnTo>
                    <a:pt x="2682" y="1206"/>
                  </a:lnTo>
                  <a:lnTo>
                    <a:pt x="2677" y="1173"/>
                  </a:lnTo>
                  <a:lnTo>
                    <a:pt x="2673" y="1140"/>
                  </a:lnTo>
                  <a:lnTo>
                    <a:pt x="2668" y="1106"/>
                  </a:lnTo>
                  <a:lnTo>
                    <a:pt x="2661" y="1073"/>
                  </a:lnTo>
                  <a:lnTo>
                    <a:pt x="2654" y="1040"/>
                  </a:lnTo>
                  <a:lnTo>
                    <a:pt x="2646" y="1008"/>
                  </a:lnTo>
                  <a:lnTo>
                    <a:pt x="2638" y="975"/>
                  </a:lnTo>
                  <a:lnTo>
                    <a:pt x="2628" y="944"/>
                  </a:lnTo>
                  <a:lnTo>
                    <a:pt x="2617" y="913"/>
                  </a:lnTo>
                  <a:lnTo>
                    <a:pt x="2606" y="882"/>
                  </a:lnTo>
                  <a:lnTo>
                    <a:pt x="2595" y="851"/>
                  </a:lnTo>
                  <a:lnTo>
                    <a:pt x="2583" y="821"/>
                  </a:lnTo>
                  <a:lnTo>
                    <a:pt x="2569" y="791"/>
                  </a:lnTo>
                  <a:lnTo>
                    <a:pt x="2556" y="761"/>
                  </a:lnTo>
                  <a:lnTo>
                    <a:pt x="2541" y="732"/>
                  </a:lnTo>
                  <a:lnTo>
                    <a:pt x="2526" y="703"/>
                  </a:lnTo>
                  <a:lnTo>
                    <a:pt x="2510" y="675"/>
                  </a:lnTo>
                  <a:lnTo>
                    <a:pt x="2494" y="647"/>
                  </a:lnTo>
                  <a:lnTo>
                    <a:pt x="2477" y="619"/>
                  </a:lnTo>
                  <a:lnTo>
                    <a:pt x="2458" y="592"/>
                  </a:lnTo>
                  <a:lnTo>
                    <a:pt x="2440" y="566"/>
                  </a:lnTo>
                  <a:lnTo>
                    <a:pt x="2421" y="540"/>
                  </a:lnTo>
                  <a:lnTo>
                    <a:pt x="2401" y="514"/>
                  </a:lnTo>
                  <a:lnTo>
                    <a:pt x="2381" y="489"/>
                  </a:lnTo>
                  <a:lnTo>
                    <a:pt x="2361" y="465"/>
                  </a:lnTo>
                  <a:lnTo>
                    <a:pt x="2339" y="440"/>
                  </a:lnTo>
                  <a:lnTo>
                    <a:pt x="2317" y="416"/>
                  </a:lnTo>
                  <a:lnTo>
                    <a:pt x="2294" y="394"/>
                  </a:lnTo>
                  <a:lnTo>
                    <a:pt x="2271" y="371"/>
                  </a:lnTo>
                  <a:lnTo>
                    <a:pt x="2248" y="349"/>
                  </a:lnTo>
                  <a:lnTo>
                    <a:pt x="2223" y="328"/>
                  </a:lnTo>
                  <a:lnTo>
                    <a:pt x="2198" y="307"/>
                  </a:lnTo>
                  <a:lnTo>
                    <a:pt x="2174" y="287"/>
                  </a:lnTo>
                  <a:lnTo>
                    <a:pt x="2148" y="267"/>
                  </a:lnTo>
                  <a:lnTo>
                    <a:pt x="2122" y="248"/>
                  </a:lnTo>
                  <a:lnTo>
                    <a:pt x="2095" y="230"/>
                  </a:lnTo>
                  <a:lnTo>
                    <a:pt x="2069" y="211"/>
                  </a:lnTo>
                  <a:lnTo>
                    <a:pt x="2041" y="194"/>
                  </a:lnTo>
                  <a:lnTo>
                    <a:pt x="2013" y="178"/>
                  </a:lnTo>
                  <a:lnTo>
                    <a:pt x="1985" y="162"/>
                  </a:lnTo>
                  <a:lnTo>
                    <a:pt x="1956" y="147"/>
                  </a:lnTo>
                  <a:lnTo>
                    <a:pt x="1927" y="133"/>
                  </a:lnTo>
                  <a:lnTo>
                    <a:pt x="1897" y="119"/>
                  </a:lnTo>
                  <a:lnTo>
                    <a:pt x="1867" y="106"/>
                  </a:lnTo>
                  <a:lnTo>
                    <a:pt x="1837" y="93"/>
                  </a:lnTo>
                  <a:lnTo>
                    <a:pt x="1807" y="82"/>
                  </a:lnTo>
                  <a:lnTo>
                    <a:pt x="1776" y="71"/>
                  </a:lnTo>
                  <a:lnTo>
                    <a:pt x="1743" y="60"/>
                  </a:lnTo>
                  <a:lnTo>
                    <a:pt x="1712" y="52"/>
                  </a:lnTo>
                  <a:lnTo>
                    <a:pt x="1680" y="43"/>
                  </a:lnTo>
                  <a:lnTo>
                    <a:pt x="1648" y="34"/>
                  </a:lnTo>
                  <a:lnTo>
                    <a:pt x="1615" y="28"/>
                  </a:lnTo>
                  <a:lnTo>
                    <a:pt x="1582" y="21"/>
                  </a:lnTo>
                  <a:lnTo>
                    <a:pt x="1549" y="16"/>
                  </a:lnTo>
                  <a:lnTo>
                    <a:pt x="1516" y="11"/>
                  </a:lnTo>
                  <a:lnTo>
                    <a:pt x="1481" y="8"/>
                  </a:lnTo>
                  <a:lnTo>
                    <a:pt x="1447" y="4"/>
                  </a:lnTo>
                  <a:lnTo>
                    <a:pt x="1414" y="2"/>
                  </a:lnTo>
                  <a:lnTo>
                    <a:pt x="1378" y="1"/>
                  </a:lnTo>
                  <a:lnTo>
                    <a:pt x="1344" y="0"/>
                  </a:lnTo>
                  <a:lnTo>
                    <a:pt x="1344" y="0"/>
                  </a:lnTo>
                  <a:close/>
                  <a:moveTo>
                    <a:pt x="1344" y="2417"/>
                  </a:moveTo>
                  <a:lnTo>
                    <a:pt x="1344" y="2417"/>
                  </a:lnTo>
                  <a:lnTo>
                    <a:pt x="1316" y="2417"/>
                  </a:lnTo>
                  <a:lnTo>
                    <a:pt x="1289" y="2416"/>
                  </a:lnTo>
                  <a:lnTo>
                    <a:pt x="1261" y="2413"/>
                  </a:lnTo>
                  <a:lnTo>
                    <a:pt x="1235" y="2411"/>
                  </a:lnTo>
                  <a:lnTo>
                    <a:pt x="1208" y="2408"/>
                  </a:lnTo>
                  <a:lnTo>
                    <a:pt x="1181" y="2405"/>
                  </a:lnTo>
                  <a:lnTo>
                    <a:pt x="1154" y="2400"/>
                  </a:lnTo>
                  <a:lnTo>
                    <a:pt x="1128" y="2395"/>
                  </a:lnTo>
                  <a:lnTo>
                    <a:pt x="1101" y="2390"/>
                  </a:lnTo>
                  <a:lnTo>
                    <a:pt x="1076" y="2383"/>
                  </a:lnTo>
                  <a:lnTo>
                    <a:pt x="1050" y="2376"/>
                  </a:lnTo>
                  <a:lnTo>
                    <a:pt x="1025" y="2368"/>
                  </a:lnTo>
                  <a:lnTo>
                    <a:pt x="999" y="2361"/>
                  </a:lnTo>
                  <a:lnTo>
                    <a:pt x="975" y="2351"/>
                  </a:lnTo>
                  <a:lnTo>
                    <a:pt x="950" y="2343"/>
                  </a:lnTo>
                  <a:lnTo>
                    <a:pt x="926" y="2333"/>
                  </a:lnTo>
                  <a:lnTo>
                    <a:pt x="879" y="2311"/>
                  </a:lnTo>
                  <a:lnTo>
                    <a:pt x="832" y="2287"/>
                  </a:lnTo>
                  <a:lnTo>
                    <a:pt x="788" y="2261"/>
                  </a:lnTo>
                  <a:lnTo>
                    <a:pt x="744" y="2233"/>
                  </a:lnTo>
                  <a:lnTo>
                    <a:pt x="702" y="2203"/>
                  </a:lnTo>
                  <a:lnTo>
                    <a:pt x="661" y="2172"/>
                  </a:lnTo>
                  <a:lnTo>
                    <a:pt x="623" y="2138"/>
                  </a:lnTo>
                  <a:lnTo>
                    <a:pt x="585" y="2102"/>
                  </a:lnTo>
                  <a:lnTo>
                    <a:pt x="550" y="2066"/>
                  </a:lnTo>
                  <a:lnTo>
                    <a:pt x="516" y="2026"/>
                  </a:lnTo>
                  <a:lnTo>
                    <a:pt x="484" y="1985"/>
                  </a:lnTo>
                  <a:lnTo>
                    <a:pt x="454" y="1943"/>
                  </a:lnTo>
                  <a:lnTo>
                    <a:pt x="426" y="1900"/>
                  </a:lnTo>
                  <a:lnTo>
                    <a:pt x="400" y="1855"/>
                  </a:lnTo>
                  <a:lnTo>
                    <a:pt x="377" y="1809"/>
                  </a:lnTo>
                  <a:lnTo>
                    <a:pt x="355" y="1761"/>
                  </a:lnTo>
                  <a:lnTo>
                    <a:pt x="346" y="1737"/>
                  </a:lnTo>
                  <a:lnTo>
                    <a:pt x="336" y="1713"/>
                  </a:lnTo>
                  <a:lnTo>
                    <a:pt x="327" y="1688"/>
                  </a:lnTo>
                  <a:lnTo>
                    <a:pt x="319" y="1663"/>
                  </a:lnTo>
                  <a:lnTo>
                    <a:pt x="311" y="1638"/>
                  </a:lnTo>
                  <a:lnTo>
                    <a:pt x="305" y="1612"/>
                  </a:lnTo>
                  <a:lnTo>
                    <a:pt x="298" y="1586"/>
                  </a:lnTo>
                  <a:lnTo>
                    <a:pt x="292" y="1560"/>
                  </a:lnTo>
                  <a:lnTo>
                    <a:pt x="288" y="1533"/>
                  </a:lnTo>
                  <a:lnTo>
                    <a:pt x="283" y="1507"/>
                  </a:lnTo>
                  <a:lnTo>
                    <a:pt x="279" y="1481"/>
                  </a:lnTo>
                  <a:lnTo>
                    <a:pt x="276" y="1453"/>
                  </a:lnTo>
                  <a:lnTo>
                    <a:pt x="274" y="1426"/>
                  </a:lnTo>
                  <a:lnTo>
                    <a:pt x="272" y="1399"/>
                  </a:lnTo>
                  <a:lnTo>
                    <a:pt x="272" y="1371"/>
                  </a:lnTo>
                  <a:lnTo>
                    <a:pt x="271" y="1344"/>
                  </a:lnTo>
                  <a:lnTo>
                    <a:pt x="271" y="1344"/>
                  </a:lnTo>
                  <a:lnTo>
                    <a:pt x="272" y="1316"/>
                  </a:lnTo>
                  <a:lnTo>
                    <a:pt x="272" y="1289"/>
                  </a:lnTo>
                  <a:lnTo>
                    <a:pt x="274" y="1261"/>
                  </a:lnTo>
                  <a:lnTo>
                    <a:pt x="276" y="1234"/>
                  </a:lnTo>
                  <a:lnTo>
                    <a:pt x="279" y="1207"/>
                  </a:lnTo>
                  <a:lnTo>
                    <a:pt x="283" y="1180"/>
                  </a:lnTo>
                  <a:lnTo>
                    <a:pt x="288" y="1154"/>
                  </a:lnTo>
                  <a:lnTo>
                    <a:pt x="292" y="1128"/>
                  </a:lnTo>
                  <a:lnTo>
                    <a:pt x="298" y="1101"/>
                  </a:lnTo>
                  <a:lnTo>
                    <a:pt x="305" y="1075"/>
                  </a:lnTo>
                  <a:lnTo>
                    <a:pt x="311" y="1049"/>
                  </a:lnTo>
                  <a:lnTo>
                    <a:pt x="319" y="1025"/>
                  </a:lnTo>
                  <a:lnTo>
                    <a:pt x="327" y="999"/>
                  </a:lnTo>
                  <a:lnTo>
                    <a:pt x="336" y="974"/>
                  </a:lnTo>
                  <a:lnTo>
                    <a:pt x="346" y="951"/>
                  </a:lnTo>
                  <a:lnTo>
                    <a:pt x="355" y="926"/>
                  </a:lnTo>
                  <a:lnTo>
                    <a:pt x="377" y="879"/>
                  </a:lnTo>
                  <a:lnTo>
                    <a:pt x="400" y="833"/>
                  </a:lnTo>
                  <a:lnTo>
                    <a:pt x="426" y="788"/>
                  </a:lnTo>
                  <a:lnTo>
                    <a:pt x="454" y="744"/>
                  </a:lnTo>
                  <a:lnTo>
                    <a:pt x="484" y="702"/>
                  </a:lnTo>
                  <a:lnTo>
                    <a:pt x="516" y="661"/>
                  </a:lnTo>
                  <a:lnTo>
                    <a:pt x="550" y="622"/>
                  </a:lnTo>
                  <a:lnTo>
                    <a:pt x="585" y="585"/>
                  </a:lnTo>
                  <a:lnTo>
                    <a:pt x="623" y="549"/>
                  </a:lnTo>
                  <a:lnTo>
                    <a:pt x="661" y="516"/>
                  </a:lnTo>
                  <a:lnTo>
                    <a:pt x="702" y="484"/>
                  </a:lnTo>
                  <a:lnTo>
                    <a:pt x="744" y="454"/>
                  </a:lnTo>
                  <a:lnTo>
                    <a:pt x="788" y="426"/>
                  </a:lnTo>
                  <a:lnTo>
                    <a:pt x="832" y="400"/>
                  </a:lnTo>
                  <a:lnTo>
                    <a:pt x="879" y="377"/>
                  </a:lnTo>
                  <a:lnTo>
                    <a:pt x="926" y="355"/>
                  </a:lnTo>
                  <a:lnTo>
                    <a:pt x="950" y="346"/>
                  </a:lnTo>
                  <a:lnTo>
                    <a:pt x="975" y="336"/>
                  </a:lnTo>
                  <a:lnTo>
                    <a:pt x="999" y="327"/>
                  </a:lnTo>
                  <a:lnTo>
                    <a:pt x="1025" y="319"/>
                  </a:lnTo>
                  <a:lnTo>
                    <a:pt x="1050" y="311"/>
                  </a:lnTo>
                  <a:lnTo>
                    <a:pt x="1076" y="305"/>
                  </a:lnTo>
                  <a:lnTo>
                    <a:pt x="1101" y="298"/>
                  </a:lnTo>
                  <a:lnTo>
                    <a:pt x="1128" y="293"/>
                  </a:lnTo>
                  <a:lnTo>
                    <a:pt x="1154" y="288"/>
                  </a:lnTo>
                  <a:lnTo>
                    <a:pt x="1181" y="283"/>
                  </a:lnTo>
                  <a:lnTo>
                    <a:pt x="1208" y="279"/>
                  </a:lnTo>
                  <a:lnTo>
                    <a:pt x="1235" y="276"/>
                  </a:lnTo>
                  <a:lnTo>
                    <a:pt x="1261" y="274"/>
                  </a:lnTo>
                  <a:lnTo>
                    <a:pt x="1289" y="273"/>
                  </a:lnTo>
                  <a:lnTo>
                    <a:pt x="1316" y="271"/>
                  </a:lnTo>
                  <a:lnTo>
                    <a:pt x="1344" y="270"/>
                  </a:lnTo>
                  <a:lnTo>
                    <a:pt x="1344" y="270"/>
                  </a:lnTo>
                  <a:lnTo>
                    <a:pt x="1372" y="271"/>
                  </a:lnTo>
                  <a:lnTo>
                    <a:pt x="1400" y="273"/>
                  </a:lnTo>
                  <a:lnTo>
                    <a:pt x="1427" y="274"/>
                  </a:lnTo>
                  <a:lnTo>
                    <a:pt x="1453" y="276"/>
                  </a:lnTo>
                  <a:lnTo>
                    <a:pt x="1480" y="279"/>
                  </a:lnTo>
                  <a:lnTo>
                    <a:pt x="1507" y="283"/>
                  </a:lnTo>
                  <a:lnTo>
                    <a:pt x="1534" y="288"/>
                  </a:lnTo>
                  <a:lnTo>
                    <a:pt x="1561" y="293"/>
                  </a:lnTo>
                  <a:lnTo>
                    <a:pt x="1587" y="298"/>
                  </a:lnTo>
                  <a:lnTo>
                    <a:pt x="1612" y="305"/>
                  </a:lnTo>
                  <a:lnTo>
                    <a:pt x="1638" y="311"/>
                  </a:lnTo>
                  <a:lnTo>
                    <a:pt x="1663" y="319"/>
                  </a:lnTo>
                  <a:lnTo>
                    <a:pt x="1689" y="327"/>
                  </a:lnTo>
                  <a:lnTo>
                    <a:pt x="1713" y="336"/>
                  </a:lnTo>
                  <a:lnTo>
                    <a:pt x="1738" y="346"/>
                  </a:lnTo>
                  <a:lnTo>
                    <a:pt x="1762" y="355"/>
                  </a:lnTo>
                  <a:lnTo>
                    <a:pt x="1810" y="377"/>
                  </a:lnTo>
                  <a:lnTo>
                    <a:pt x="1856" y="400"/>
                  </a:lnTo>
                  <a:lnTo>
                    <a:pt x="1901" y="426"/>
                  </a:lnTo>
                  <a:lnTo>
                    <a:pt x="1944" y="454"/>
                  </a:lnTo>
                  <a:lnTo>
                    <a:pt x="1986" y="484"/>
                  </a:lnTo>
                  <a:lnTo>
                    <a:pt x="2027" y="516"/>
                  </a:lnTo>
                  <a:lnTo>
                    <a:pt x="2065" y="549"/>
                  </a:lnTo>
                  <a:lnTo>
                    <a:pt x="2103" y="585"/>
                  </a:lnTo>
                  <a:lnTo>
                    <a:pt x="2138" y="622"/>
                  </a:lnTo>
                  <a:lnTo>
                    <a:pt x="2173" y="661"/>
                  </a:lnTo>
                  <a:lnTo>
                    <a:pt x="2204" y="702"/>
                  </a:lnTo>
                  <a:lnTo>
                    <a:pt x="2234" y="744"/>
                  </a:lnTo>
                  <a:lnTo>
                    <a:pt x="2262" y="788"/>
                  </a:lnTo>
                  <a:lnTo>
                    <a:pt x="2288" y="833"/>
                  </a:lnTo>
                  <a:lnTo>
                    <a:pt x="2311" y="879"/>
                  </a:lnTo>
                  <a:lnTo>
                    <a:pt x="2333" y="926"/>
                  </a:lnTo>
                  <a:lnTo>
                    <a:pt x="2343" y="951"/>
                  </a:lnTo>
                  <a:lnTo>
                    <a:pt x="2352" y="974"/>
                  </a:lnTo>
                  <a:lnTo>
                    <a:pt x="2362" y="999"/>
                  </a:lnTo>
                  <a:lnTo>
                    <a:pt x="2369" y="1025"/>
                  </a:lnTo>
                  <a:lnTo>
                    <a:pt x="2377" y="1049"/>
                  </a:lnTo>
                  <a:lnTo>
                    <a:pt x="2384" y="1075"/>
                  </a:lnTo>
                  <a:lnTo>
                    <a:pt x="2390" y="1101"/>
                  </a:lnTo>
                  <a:lnTo>
                    <a:pt x="2396" y="1128"/>
                  </a:lnTo>
                  <a:lnTo>
                    <a:pt x="2400" y="1154"/>
                  </a:lnTo>
                  <a:lnTo>
                    <a:pt x="2406" y="1180"/>
                  </a:lnTo>
                  <a:lnTo>
                    <a:pt x="2409" y="1207"/>
                  </a:lnTo>
                  <a:lnTo>
                    <a:pt x="2412" y="1234"/>
                  </a:lnTo>
                  <a:lnTo>
                    <a:pt x="2414" y="1261"/>
                  </a:lnTo>
                  <a:lnTo>
                    <a:pt x="2416" y="1289"/>
                  </a:lnTo>
                  <a:lnTo>
                    <a:pt x="2417" y="1316"/>
                  </a:lnTo>
                  <a:lnTo>
                    <a:pt x="2417" y="1344"/>
                  </a:lnTo>
                  <a:lnTo>
                    <a:pt x="2417" y="1344"/>
                  </a:lnTo>
                  <a:lnTo>
                    <a:pt x="2417" y="1371"/>
                  </a:lnTo>
                  <a:lnTo>
                    <a:pt x="2416" y="1399"/>
                  </a:lnTo>
                  <a:lnTo>
                    <a:pt x="2414" y="1426"/>
                  </a:lnTo>
                  <a:lnTo>
                    <a:pt x="2412" y="1453"/>
                  </a:lnTo>
                  <a:lnTo>
                    <a:pt x="2409" y="1481"/>
                  </a:lnTo>
                  <a:lnTo>
                    <a:pt x="2406" y="1507"/>
                  </a:lnTo>
                  <a:lnTo>
                    <a:pt x="2400" y="1533"/>
                  </a:lnTo>
                  <a:lnTo>
                    <a:pt x="2396" y="1560"/>
                  </a:lnTo>
                  <a:lnTo>
                    <a:pt x="2390" y="1586"/>
                  </a:lnTo>
                  <a:lnTo>
                    <a:pt x="2384" y="1612"/>
                  </a:lnTo>
                  <a:lnTo>
                    <a:pt x="2377" y="1638"/>
                  </a:lnTo>
                  <a:lnTo>
                    <a:pt x="2369" y="1663"/>
                  </a:lnTo>
                  <a:lnTo>
                    <a:pt x="2362" y="1688"/>
                  </a:lnTo>
                  <a:lnTo>
                    <a:pt x="2352" y="1713"/>
                  </a:lnTo>
                  <a:lnTo>
                    <a:pt x="2343" y="1737"/>
                  </a:lnTo>
                  <a:lnTo>
                    <a:pt x="2333" y="1761"/>
                  </a:lnTo>
                  <a:lnTo>
                    <a:pt x="2311" y="1809"/>
                  </a:lnTo>
                  <a:lnTo>
                    <a:pt x="2288" y="1855"/>
                  </a:lnTo>
                  <a:lnTo>
                    <a:pt x="2262" y="1900"/>
                  </a:lnTo>
                  <a:lnTo>
                    <a:pt x="2234" y="1943"/>
                  </a:lnTo>
                  <a:lnTo>
                    <a:pt x="2204" y="1985"/>
                  </a:lnTo>
                  <a:lnTo>
                    <a:pt x="2173" y="2026"/>
                  </a:lnTo>
                  <a:lnTo>
                    <a:pt x="2138" y="2066"/>
                  </a:lnTo>
                  <a:lnTo>
                    <a:pt x="2103" y="2102"/>
                  </a:lnTo>
                  <a:lnTo>
                    <a:pt x="2065" y="2138"/>
                  </a:lnTo>
                  <a:lnTo>
                    <a:pt x="2027" y="2172"/>
                  </a:lnTo>
                  <a:lnTo>
                    <a:pt x="1986" y="2203"/>
                  </a:lnTo>
                  <a:lnTo>
                    <a:pt x="1944" y="2233"/>
                  </a:lnTo>
                  <a:lnTo>
                    <a:pt x="1901" y="2261"/>
                  </a:lnTo>
                  <a:lnTo>
                    <a:pt x="1856" y="2287"/>
                  </a:lnTo>
                  <a:lnTo>
                    <a:pt x="1810" y="2311"/>
                  </a:lnTo>
                  <a:lnTo>
                    <a:pt x="1762" y="2333"/>
                  </a:lnTo>
                  <a:lnTo>
                    <a:pt x="1738" y="2343"/>
                  </a:lnTo>
                  <a:lnTo>
                    <a:pt x="1713" y="2351"/>
                  </a:lnTo>
                  <a:lnTo>
                    <a:pt x="1689" y="2361"/>
                  </a:lnTo>
                  <a:lnTo>
                    <a:pt x="1663" y="2368"/>
                  </a:lnTo>
                  <a:lnTo>
                    <a:pt x="1638" y="2376"/>
                  </a:lnTo>
                  <a:lnTo>
                    <a:pt x="1612" y="2383"/>
                  </a:lnTo>
                  <a:lnTo>
                    <a:pt x="1587" y="2390"/>
                  </a:lnTo>
                  <a:lnTo>
                    <a:pt x="1561" y="2395"/>
                  </a:lnTo>
                  <a:lnTo>
                    <a:pt x="1534" y="2400"/>
                  </a:lnTo>
                  <a:lnTo>
                    <a:pt x="1507" y="2405"/>
                  </a:lnTo>
                  <a:lnTo>
                    <a:pt x="1480" y="2408"/>
                  </a:lnTo>
                  <a:lnTo>
                    <a:pt x="1453" y="2411"/>
                  </a:lnTo>
                  <a:lnTo>
                    <a:pt x="1427" y="2413"/>
                  </a:lnTo>
                  <a:lnTo>
                    <a:pt x="1400" y="2416"/>
                  </a:lnTo>
                  <a:lnTo>
                    <a:pt x="1372" y="2417"/>
                  </a:lnTo>
                  <a:lnTo>
                    <a:pt x="1344" y="2417"/>
                  </a:lnTo>
                  <a:lnTo>
                    <a:pt x="1344" y="24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17" name="Freeform 6">
              <a:hlinkClick r:id="rId5"/>
              <a:extLst>
                <a:ext uri="{FF2B5EF4-FFF2-40B4-BE49-F238E27FC236}">
                  <a16:creationId xmlns:a16="http://schemas.microsoft.com/office/drawing/2014/main" id="{DDF2C65F-5CB1-4FF7-8DB4-61DA79D98923}"/>
                </a:ext>
              </a:extLst>
            </p:cNvPr>
            <p:cNvSpPr>
              <a:spLocks/>
            </p:cNvSpPr>
            <p:nvPr/>
          </p:nvSpPr>
          <p:spPr bwMode="auto">
            <a:xfrm>
              <a:off x="5065713" y="1663700"/>
              <a:ext cx="1377950" cy="1592263"/>
            </a:xfrm>
            <a:custGeom>
              <a:avLst/>
              <a:gdLst>
                <a:gd name="T0" fmla="*/ 0 w 868"/>
                <a:gd name="T1" fmla="*/ 1003 h 1003"/>
                <a:gd name="T2" fmla="*/ 0 w 868"/>
                <a:gd name="T3" fmla="*/ 0 h 1003"/>
                <a:gd name="T4" fmla="*/ 868 w 868"/>
                <a:gd name="T5" fmla="*/ 502 h 1003"/>
                <a:gd name="T6" fmla="*/ 0 w 868"/>
                <a:gd name="T7" fmla="*/ 1003 h 1003"/>
              </a:gdLst>
              <a:ahLst/>
              <a:cxnLst>
                <a:cxn ang="0">
                  <a:pos x="T0" y="T1"/>
                </a:cxn>
                <a:cxn ang="0">
                  <a:pos x="T2" y="T3"/>
                </a:cxn>
                <a:cxn ang="0">
                  <a:pos x="T4" y="T5"/>
                </a:cxn>
                <a:cxn ang="0">
                  <a:pos x="T6" y="T7"/>
                </a:cxn>
              </a:cxnLst>
              <a:rect l="0" t="0" r="r" b="b"/>
              <a:pathLst>
                <a:path w="868" h="1003">
                  <a:moveTo>
                    <a:pt x="0" y="1003"/>
                  </a:moveTo>
                  <a:lnTo>
                    <a:pt x="0" y="0"/>
                  </a:lnTo>
                  <a:lnTo>
                    <a:pt x="868" y="502"/>
                  </a:lnTo>
                  <a:lnTo>
                    <a:pt x="0" y="10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BFD6"/>
                </a:solidFill>
                <a:effectLst/>
                <a:uLnTx/>
                <a:uFillTx/>
                <a:latin typeface="Arial"/>
                <a:ea typeface="+mn-ea"/>
                <a:cs typeface="+mn-cs"/>
              </a:endParaRPr>
            </a:p>
          </p:txBody>
        </p:sp>
      </p:grpSp>
    </p:spTree>
    <p:extLst>
      <p:ext uri="{BB962C8B-B14F-4D97-AF65-F5344CB8AC3E}">
        <p14:creationId xmlns:p14="http://schemas.microsoft.com/office/powerpoint/2010/main" val="606520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B9AE36-383F-4D00-91D1-52AF9DD7A47B}"/>
              </a:ext>
            </a:extLst>
          </p:cNvPr>
          <p:cNvSpPr>
            <a:spLocks noGrp="1"/>
          </p:cNvSpPr>
          <p:nvPr>
            <p:ph type="title"/>
          </p:nvPr>
        </p:nvSpPr>
        <p:spPr/>
        <p:txBody>
          <a:bodyPr/>
          <a:lstStyle/>
          <a:p>
            <a:r>
              <a:rPr lang="en-GB" dirty="0" err="1"/>
              <a:t>DowNton</a:t>
            </a:r>
            <a:r>
              <a:rPr lang="en-GB" dirty="0"/>
              <a:t> abbey: audience profile</a:t>
            </a:r>
          </a:p>
        </p:txBody>
      </p:sp>
      <p:sp>
        <p:nvSpPr>
          <p:cNvPr id="6" name="Text Placeholder 5">
            <a:extLst>
              <a:ext uri="{FF2B5EF4-FFF2-40B4-BE49-F238E27FC236}">
                <a16:creationId xmlns:a16="http://schemas.microsoft.com/office/drawing/2014/main" id="{E9D16BEE-F510-4404-8778-90FABFEF7077}"/>
              </a:ext>
            </a:extLst>
          </p:cNvPr>
          <p:cNvSpPr>
            <a:spLocks noGrp="1"/>
          </p:cNvSpPr>
          <p:nvPr>
            <p:ph type="body" sz="quarter" idx="11"/>
          </p:nvPr>
        </p:nvSpPr>
        <p:spPr/>
        <p:txBody>
          <a:bodyPr/>
          <a:lstStyle/>
          <a:p>
            <a:r>
              <a:rPr lang="en-GB" dirty="0"/>
              <a:t>Source: Film Monitor</a:t>
            </a:r>
          </a:p>
        </p:txBody>
      </p:sp>
      <p:sp>
        <p:nvSpPr>
          <p:cNvPr id="7" name="Text Placeholder 6">
            <a:extLst>
              <a:ext uri="{FF2B5EF4-FFF2-40B4-BE49-F238E27FC236}">
                <a16:creationId xmlns:a16="http://schemas.microsoft.com/office/drawing/2014/main" id="{C875200A-021C-4FCD-AAAC-122B03DB8F4E}"/>
              </a:ext>
            </a:extLst>
          </p:cNvPr>
          <p:cNvSpPr>
            <a:spLocks noGrp="1"/>
          </p:cNvSpPr>
          <p:nvPr>
            <p:ph type="body" sz="quarter" idx="14"/>
          </p:nvPr>
        </p:nvSpPr>
        <p:spPr/>
        <p:txBody>
          <a:bodyPr/>
          <a:lstStyle/>
          <a:p>
            <a:r>
              <a:rPr lang="en-GB" dirty="0"/>
              <a:t>The first film delivered a highly affluent, older female skewing audience </a:t>
            </a:r>
          </a:p>
        </p:txBody>
      </p:sp>
      <p:sp>
        <p:nvSpPr>
          <p:cNvPr id="9" name="Rectangle: Rounded Corners 8">
            <a:extLst>
              <a:ext uri="{FF2B5EF4-FFF2-40B4-BE49-F238E27FC236}">
                <a16:creationId xmlns:a16="http://schemas.microsoft.com/office/drawing/2014/main" id="{644584CF-CBF4-47CB-B4E2-6DBE625F735F}"/>
              </a:ext>
            </a:extLst>
          </p:cNvPr>
          <p:cNvSpPr/>
          <p:nvPr/>
        </p:nvSpPr>
        <p:spPr>
          <a:xfrm>
            <a:off x="5062051" y="1288082"/>
            <a:ext cx="7755046" cy="873481"/>
          </a:xfrm>
          <a:prstGeom prst="round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pic>
        <p:nvPicPr>
          <p:cNvPr id="14" name="Picture 13">
            <a:extLst>
              <a:ext uri="{FF2B5EF4-FFF2-40B4-BE49-F238E27FC236}">
                <a16:creationId xmlns:a16="http://schemas.microsoft.com/office/drawing/2014/main" id="{39333F99-FCC3-4C2A-9C23-67C107523B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6594" y="1197565"/>
            <a:ext cx="3746225" cy="5585280"/>
          </a:xfrm>
          <a:prstGeom prst="rect">
            <a:avLst/>
          </a:prstGeom>
        </p:spPr>
      </p:pic>
      <p:sp>
        <p:nvSpPr>
          <p:cNvPr id="13" name="Rectangle: Rounded Corners 12">
            <a:extLst>
              <a:ext uri="{FF2B5EF4-FFF2-40B4-BE49-F238E27FC236}">
                <a16:creationId xmlns:a16="http://schemas.microsoft.com/office/drawing/2014/main" id="{8F01E819-C536-43FD-A0A8-264E0C544266}"/>
              </a:ext>
            </a:extLst>
          </p:cNvPr>
          <p:cNvSpPr/>
          <p:nvPr/>
        </p:nvSpPr>
        <p:spPr>
          <a:xfrm>
            <a:off x="5062051" y="2729285"/>
            <a:ext cx="7755046" cy="873481"/>
          </a:xfrm>
          <a:prstGeom prst="round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15" name="Rectangle: Rounded Corners 14">
            <a:extLst>
              <a:ext uri="{FF2B5EF4-FFF2-40B4-BE49-F238E27FC236}">
                <a16:creationId xmlns:a16="http://schemas.microsoft.com/office/drawing/2014/main" id="{DA59D274-B092-4F92-BB3D-F3298B402175}"/>
              </a:ext>
            </a:extLst>
          </p:cNvPr>
          <p:cNvSpPr/>
          <p:nvPr/>
        </p:nvSpPr>
        <p:spPr>
          <a:xfrm>
            <a:off x="5062051" y="4170488"/>
            <a:ext cx="7755046" cy="873481"/>
          </a:xfrm>
          <a:prstGeom prst="round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16" name="Rectangle: Rounded Corners 15">
            <a:extLst>
              <a:ext uri="{FF2B5EF4-FFF2-40B4-BE49-F238E27FC236}">
                <a16:creationId xmlns:a16="http://schemas.microsoft.com/office/drawing/2014/main" id="{EBC64F8D-432C-4EC1-9C49-5A98340622F8}"/>
              </a:ext>
            </a:extLst>
          </p:cNvPr>
          <p:cNvSpPr/>
          <p:nvPr/>
        </p:nvSpPr>
        <p:spPr>
          <a:xfrm>
            <a:off x="5062051" y="5611691"/>
            <a:ext cx="7755046" cy="873481"/>
          </a:xfrm>
          <a:prstGeom prst="round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17" name="Rectangle: Rounded Corners 16">
            <a:extLst>
              <a:ext uri="{FF2B5EF4-FFF2-40B4-BE49-F238E27FC236}">
                <a16:creationId xmlns:a16="http://schemas.microsoft.com/office/drawing/2014/main" id="{8B282F8E-7CF7-48BD-8B22-87A560524CD7}"/>
              </a:ext>
            </a:extLst>
          </p:cNvPr>
          <p:cNvSpPr/>
          <p:nvPr/>
        </p:nvSpPr>
        <p:spPr>
          <a:xfrm>
            <a:off x="5062051" y="1288081"/>
            <a:ext cx="5761662" cy="873481"/>
          </a:xfrm>
          <a:prstGeom prst="round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         70% FEMALE</a:t>
            </a:r>
          </a:p>
        </p:txBody>
      </p:sp>
      <p:sp>
        <p:nvSpPr>
          <p:cNvPr id="18" name="Rectangle: Rounded Corners 17">
            <a:extLst>
              <a:ext uri="{FF2B5EF4-FFF2-40B4-BE49-F238E27FC236}">
                <a16:creationId xmlns:a16="http://schemas.microsoft.com/office/drawing/2014/main" id="{3AB65237-FF91-411A-87D5-0D23B0AE4074}"/>
              </a:ext>
            </a:extLst>
          </p:cNvPr>
          <p:cNvSpPr/>
          <p:nvPr/>
        </p:nvSpPr>
        <p:spPr>
          <a:xfrm>
            <a:off x="5062052" y="2729285"/>
            <a:ext cx="6065732" cy="873481"/>
          </a:xfrm>
          <a:prstGeom prst="round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76% 45+</a:t>
            </a:r>
          </a:p>
        </p:txBody>
      </p:sp>
      <p:sp>
        <p:nvSpPr>
          <p:cNvPr id="19" name="Rectangle: Rounded Corners 18">
            <a:extLst>
              <a:ext uri="{FF2B5EF4-FFF2-40B4-BE49-F238E27FC236}">
                <a16:creationId xmlns:a16="http://schemas.microsoft.com/office/drawing/2014/main" id="{C42602A1-8024-4B01-A8AF-92C351203457}"/>
              </a:ext>
            </a:extLst>
          </p:cNvPr>
          <p:cNvSpPr/>
          <p:nvPr/>
        </p:nvSpPr>
        <p:spPr>
          <a:xfrm>
            <a:off x="5062052" y="4158129"/>
            <a:ext cx="6251712" cy="873481"/>
          </a:xfrm>
          <a:prstGeom prst="round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78% ABC1</a:t>
            </a:r>
          </a:p>
        </p:txBody>
      </p:sp>
      <p:sp>
        <p:nvSpPr>
          <p:cNvPr id="20" name="Rectangle: Rounded Corners 19">
            <a:extLst>
              <a:ext uri="{FF2B5EF4-FFF2-40B4-BE49-F238E27FC236}">
                <a16:creationId xmlns:a16="http://schemas.microsoft.com/office/drawing/2014/main" id="{B502AEA3-4308-452C-9CCD-E967199F7E38}"/>
              </a:ext>
            </a:extLst>
          </p:cNvPr>
          <p:cNvSpPr/>
          <p:nvPr/>
        </p:nvSpPr>
        <p:spPr>
          <a:xfrm>
            <a:off x="5062052" y="5599332"/>
            <a:ext cx="3833976" cy="873481"/>
          </a:xfrm>
          <a:prstGeom prst="round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47% AB</a:t>
            </a:r>
          </a:p>
        </p:txBody>
      </p:sp>
    </p:spTree>
    <p:extLst>
      <p:ext uri="{BB962C8B-B14F-4D97-AF65-F5344CB8AC3E}">
        <p14:creationId xmlns:p14="http://schemas.microsoft.com/office/powerpoint/2010/main" val="21844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B9AE36-383F-4D00-91D1-52AF9DD7A47B}"/>
              </a:ext>
            </a:extLst>
          </p:cNvPr>
          <p:cNvSpPr>
            <a:spLocks noGrp="1"/>
          </p:cNvSpPr>
          <p:nvPr>
            <p:ph type="title"/>
          </p:nvPr>
        </p:nvSpPr>
        <p:spPr/>
        <p:txBody>
          <a:bodyPr/>
          <a:lstStyle/>
          <a:p>
            <a:r>
              <a:rPr lang="en-GB" dirty="0"/>
              <a:t>DOWNTON ABBEY: a new era – the most premium blockbuster of 2022</a:t>
            </a:r>
          </a:p>
        </p:txBody>
      </p:sp>
      <p:sp>
        <p:nvSpPr>
          <p:cNvPr id="6" name="Text Placeholder 5">
            <a:extLst>
              <a:ext uri="{FF2B5EF4-FFF2-40B4-BE49-F238E27FC236}">
                <a16:creationId xmlns:a16="http://schemas.microsoft.com/office/drawing/2014/main" id="{E9D16BEE-F510-4404-8778-90FABFEF7077}"/>
              </a:ext>
            </a:extLst>
          </p:cNvPr>
          <p:cNvSpPr>
            <a:spLocks noGrp="1"/>
          </p:cNvSpPr>
          <p:nvPr>
            <p:ph type="body" sz="quarter" idx="11"/>
          </p:nvPr>
        </p:nvSpPr>
        <p:spPr>
          <a:xfrm>
            <a:off x="7684169" y="7272817"/>
            <a:ext cx="5614320" cy="123111"/>
          </a:xfrm>
        </p:spPr>
        <p:txBody>
          <a:bodyPr/>
          <a:lstStyle/>
          <a:p>
            <a:r>
              <a:rPr lang="en-GB" b="1" dirty="0"/>
              <a:t>Source: </a:t>
            </a:r>
            <a:r>
              <a:rPr lang="en-GB" dirty="0"/>
              <a:t>DCM Planner, profiles based on comparative titles from Film Monitor </a:t>
            </a:r>
          </a:p>
        </p:txBody>
      </p:sp>
      <p:sp>
        <p:nvSpPr>
          <p:cNvPr id="7" name="Text Placeholder 6">
            <a:extLst>
              <a:ext uri="{FF2B5EF4-FFF2-40B4-BE49-F238E27FC236}">
                <a16:creationId xmlns:a16="http://schemas.microsoft.com/office/drawing/2014/main" id="{C875200A-021C-4FCD-AAAC-122B03DB8F4E}"/>
              </a:ext>
            </a:extLst>
          </p:cNvPr>
          <p:cNvSpPr>
            <a:spLocks noGrp="1"/>
          </p:cNvSpPr>
          <p:nvPr>
            <p:ph type="body" sz="quarter" idx="14"/>
          </p:nvPr>
        </p:nvSpPr>
        <p:spPr/>
        <p:txBody>
          <a:bodyPr/>
          <a:lstStyle/>
          <a:p>
            <a:r>
              <a:rPr lang="en-GB" dirty="0">
                <a:solidFill>
                  <a:srgbClr val="8A8A8D"/>
                </a:solidFill>
              </a:rPr>
              <a:t>Based on the first film’s profile we expect over three quarters of the film’s audience to be ABC1 adults </a:t>
            </a:r>
            <a:endParaRPr lang="en-US" dirty="0"/>
          </a:p>
          <a:p>
            <a:endParaRPr lang="en-GB" dirty="0"/>
          </a:p>
        </p:txBody>
      </p:sp>
      <p:graphicFrame>
        <p:nvGraphicFramePr>
          <p:cNvPr id="8" name="Chart 7">
            <a:extLst>
              <a:ext uri="{FF2B5EF4-FFF2-40B4-BE49-F238E27FC236}">
                <a16:creationId xmlns:a16="http://schemas.microsoft.com/office/drawing/2014/main" id="{5242C353-B163-4458-BE82-679754F385F9}"/>
              </a:ext>
            </a:extLst>
          </p:cNvPr>
          <p:cNvGraphicFramePr>
            <a:graphicFrameLocks/>
          </p:cNvGraphicFramePr>
          <p:nvPr>
            <p:extLst>
              <p:ext uri="{D42A27DB-BD31-4B8C-83A1-F6EECF244321}">
                <p14:modId xmlns:p14="http://schemas.microsoft.com/office/powerpoint/2010/main" val="2276781828"/>
              </p:ext>
            </p:extLst>
          </p:nvPr>
        </p:nvGraphicFramePr>
        <p:xfrm>
          <a:off x="270000" y="1197565"/>
          <a:ext cx="12788274" cy="5604287"/>
        </p:xfrm>
        <a:graphic>
          <a:graphicData uri="http://schemas.openxmlformats.org/drawingml/2006/chart">
            <c:chart xmlns:c="http://schemas.openxmlformats.org/drawingml/2006/chart" xmlns:r="http://schemas.openxmlformats.org/officeDocument/2006/relationships" r:id="rId2"/>
          </a:graphicData>
        </a:graphic>
      </p:graphicFrame>
      <p:cxnSp>
        <p:nvCxnSpPr>
          <p:cNvPr id="9" name="Straight Connector 8">
            <a:extLst>
              <a:ext uri="{FF2B5EF4-FFF2-40B4-BE49-F238E27FC236}">
                <a16:creationId xmlns:a16="http://schemas.microsoft.com/office/drawing/2014/main" id="{09EA1AC0-6A94-4A56-A54C-AC0A9E155595}"/>
              </a:ext>
            </a:extLst>
          </p:cNvPr>
          <p:cNvCxnSpPr>
            <a:cxnSpLocks/>
          </p:cNvCxnSpPr>
          <p:nvPr/>
        </p:nvCxnSpPr>
        <p:spPr>
          <a:xfrm>
            <a:off x="633180" y="3427139"/>
            <a:ext cx="12296757"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2187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9C863F2-8B08-4492-B10D-FCCF83AEBE82}"/>
              </a:ext>
            </a:extLst>
          </p:cNvPr>
          <p:cNvPicPr>
            <a:picLocks noChangeAspect="1"/>
          </p:cNvPicPr>
          <p:nvPr/>
        </p:nvPicPr>
        <p:blipFill rotWithShape="1">
          <a:blip r:embed="rId2">
            <a:grayscl/>
          </a:blip>
          <a:srcRect l="4401" r="16742"/>
          <a:stretch/>
        </p:blipFill>
        <p:spPr>
          <a:xfrm>
            <a:off x="0" y="0"/>
            <a:ext cx="13442950" cy="7067227"/>
          </a:xfrm>
          <a:prstGeom prst="rect">
            <a:avLst/>
          </a:prstGeom>
        </p:spPr>
      </p:pic>
      <p:sp>
        <p:nvSpPr>
          <p:cNvPr id="11" name="Rectangle 10">
            <a:extLst>
              <a:ext uri="{FF2B5EF4-FFF2-40B4-BE49-F238E27FC236}">
                <a16:creationId xmlns:a16="http://schemas.microsoft.com/office/drawing/2014/main" id="{FD082C44-1FD8-4846-84DB-F431136984A2}"/>
              </a:ext>
            </a:extLst>
          </p:cNvPr>
          <p:cNvSpPr/>
          <p:nvPr/>
        </p:nvSpPr>
        <p:spPr>
          <a:xfrm>
            <a:off x="0" y="0"/>
            <a:ext cx="13442950" cy="7067227"/>
          </a:xfrm>
          <a:prstGeom prst="rect">
            <a:avLst/>
          </a:prstGeom>
          <a:solidFill>
            <a:schemeClr val="accent1">
              <a:alpha val="9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2" name="Group 11">
            <a:extLst>
              <a:ext uri="{FF2B5EF4-FFF2-40B4-BE49-F238E27FC236}">
                <a16:creationId xmlns:a16="http://schemas.microsoft.com/office/drawing/2014/main" id="{F32EAFD9-FE40-421D-9451-2B8834B51C57}"/>
              </a:ext>
            </a:extLst>
          </p:cNvPr>
          <p:cNvGrpSpPr/>
          <p:nvPr/>
        </p:nvGrpSpPr>
        <p:grpSpPr>
          <a:xfrm>
            <a:off x="282767" y="1366347"/>
            <a:ext cx="12823633" cy="5000169"/>
            <a:chOff x="630622" y="1451312"/>
            <a:chExt cx="12065875" cy="5000169"/>
          </a:xfrm>
        </p:grpSpPr>
        <p:sp>
          <p:nvSpPr>
            <p:cNvPr id="13" name="Rectangle 12">
              <a:extLst>
                <a:ext uri="{FF2B5EF4-FFF2-40B4-BE49-F238E27FC236}">
                  <a16:creationId xmlns:a16="http://schemas.microsoft.com/office/drawing/2014/main" id="{93EB3539-5579-423B-B42C-91C83631E79E}"/>
                </a:ext>
              </a:extLst>
            </p:cNvPr>
            <p:cNvSpPr/>
            <p:nvPr/>
          </p:nvSpPr>
          <p:spPr>
            <a:xfrm>
              <a:off x="630622" y="1458664"/>
              <a:ext cx="6006382" cy="1440000"/>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2400" b="1" dirty="0">
                  <a:solidFill>
                    <a:srgbClr val="FFFFFF"/>
                  </a:solidFill>
                  <a:latin typeface="Arial" charset="0"/>
                  <a:ea typeface="Arial" charset="0"/>
                  <a:cs typeface="Arial" charset="0"/>
                </a:rPr>
                <a:t>73</a:t>
              </a:r>
              <a:r>
                <a:rPr kumimoji="0" lang="en-GB" sz="2400" b="1" i="0" u="none" strike="noStrike" kern="1200" cap="none" spc="0" normalizeH="0" baseline="0" noProof="0" dirty="0">
                  <a:ln>
                    <a:noFill/>
                  </a:ln>
                  <a:solidFill>
                    <a:srgbClr val="FFFFFF"/>
                  </a:solidFill>
                  <a:effectLst/>
                  <a:uLnTx/>
                  <a:uFillTx/>
                  <a:latin typeface="Arial" charset="0"/>
                  <a:ea typeface="Arial" charset="0"/>
                  <a:cs typeface="Arial" charset="0"/>
                </a:rPr>
                <a:t>% </a:t>
              </a:r>
              <a:r>
                <a:rPr lang="en-GB" sz="1800" b="1" dirty="0">
                  <a:solidFill>
                    <a:srgbClr val="FFFFFF"/>
                  </a:solidFill>
                  <a:latin typeface="Arial" charset="0"/>
                  <a:ea typeface="Arial" charset="0"/>
                  <a:cs typeface="Arial" charset="0"/>
                </a:rPr>
                <a:t>save up before buying for something </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dirty="0">
                  <a:solidFill>
                    <a:srgbClr val="FFFFFF"/>
                  </a:solidFill>
                  <a:latin typeface="Arial" charset="0"/>
                  <a:ea typeface="Arial" charset="0"/>
                  <a:cs typeface="Arial" charset="0"/>
                </a:rPr>
                <a:t>they really want</a:t>
              </a:r>
              <a:endPar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900" b="1" i="1" u="none" strike="noStrike" kern="1200" cap="none" spc="0" normalizeH="0" baseline="0" noProof="0" dirty="0">
                  <a:ln>
                    <a:noFill/>
                  </a:ln>
                  <a:solidFill>
                    <a:srgbClr val="FFFFFF"/>
                  </a:solidFill>
                  <a:effectLst/>
                  <a:uLnTx/>
                  <a:uFillTx/>
                  <a:latin typeface="Arial" charset="0"/>
                  <a:ea typeface="Arial" charset="0"/>
                  <a:cs typeface="Arial" charset="0"/>
                </a:rPr>
                <a:t>(Index 108)</a:t>
              </a:r>
            </a:p>
          </p:txBody>
        </p:sp>
        <p:sp>
          <p:nvSpPr>
            <p:cNvPr id="14" name="Rectangle 13">
              <a:extLst>
                <a:ext uri="{FF2B5EF4-FFF2-40B4-BE49-F238E27FC236}">
                  <a16:creationId xmlns:a16="http://schemas.microsoft.com/office/drawing/2014/main" id="{4D42D1BC-812C-4F48-8E5D-79102ECD2738}"/>
                </a:ext>
              </a:extLst>
            </p:cNvPr>
            <p:cNvSpPr/>
            <p:nvPr/>
          </p:nvSpPr>
          <p:spPr>
            <a:xfrm>
              <a:off x="630622" y="3094542"/>
              <a:ext cx="3594537" cy="1440000"/>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 62% agree </a:t>
              </a:r>
              <a:r>
                <a:rPr lang="en-GB" sz="1800" b="1" dirty="0">
                  <a:solidFill>
                    <a:srgbClr val="FFFFFF"/>
                  </a:solidFill>
                  <a:latin typeface="Arial" charset="0"/>
                  <a:ea typeface="Arial" charset="0"/>
                  <a:cs typeface="Arial" charset="0"/>
                </a:rPr>
                <a:t>it is important to be well insured for everything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900" b="1" i="1" u="none" strike="noStrike" kern="1200" cap="none" spc="0" normalizeH="0" baseline="0" noProof="0" dirty="0">
                  <a:ln>
                    <a:noFill/>
                  </a:ln>
                  <a:solidFill>
                    <a:srgbClr val="FFFFFF"/>
                  </a:solidFill>
                  <a:effectLst/>
                  <a:uLnTx/>
                  <a:uFillTx/>
                  <a:latin typeface="Arial" charset="0"/>
                  <a:ea typeface="Arial" charset="0"/>
                  <a:cs typeface="Arial" charset="0"/>
                </a:rPr>
                <a:t>(index 121)</a:t>
              </a:r>
            </a:p>
          </p:txBody>
        </p:sp>
        <p:sp>
          <p:nvSpPr>
            <p:cNvPr id="15" name="Rectangle 14">
              <a:extLst>
                <a:ext uri="{FF2B5EF4-FFF2-40B4-BE49-F238E27FC236}">
                  <a16:creationId xmlns:a16="http://schemas.microsoft.com/office/drawing/2014/main" id="{0BC141B2-3C08-4665-A024-A8D3421645E5}"/>
                </a:ext>
              </a:extLst>
            </p:cNvPr>
            <p:cNvSpPr/>
            <p:nvPr/>
          </p:nvSpPr>
          <p:spPr>
            <a:xfrm>
              <a:off x="630623" y="4754698"/>
              <a:ext cx="4288004" cy="1689432"/>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60% agree it is worth paying extra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for high quality good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900" b="1" i="1" u="none" strike="noStrike" kern="1200" cap="none" spc="0" normalizeH="0" baseline="0" noProof="0" dirty="0">
                  <a:ln>
                    <a:noFill/>
                  </a:ln>
                  <a:solidFill>
                    <a:srgbClr val="FFFFFF"/>
                  </a:solidFill>
                  <a:effectLst/>
                  <a:uLnTx/>
                  <a:uFillTx/>
                  <a:latin typeface="Arial" charset="0"/>
                  <a:ea typeface="Arial" charset="0"/>
                  <a:cs typeface="Arial" charset="0"/>
                </a:rPr>
                <a:t>(index 108)</a:t>
              </a:r>
            </a:p>
          </p:txBody>
        </p:sp>
        <p:sp>
          <p:nvSpPr>
            <p:cNvPr id="16" name="Rectangle 15">
              <a:extLst>
                <a:ext uri="{FF2B5EF4-FFF2-40B4-BE49-F238E27FC236}">
                  <a16:creationId xmlns:a16="http://schemas.microsoft.com/office/drawing/2014/main" id="{7F23EEED-A07A-4E50-AE65-FCD5271089ED}"/>
                </a:ext>
              </a:extLst>
            </p:cNvPr>
            <p:cNvSpPr/>
            <p:nvPr/>
          </p:nvSpPr>
          <p:spPr>
            <a:xfrm>
              <a:off x="5097518" y="4754696"/>
              <a:ext cx="3390846" cy="1696785"/>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 54% enjoy planning holiday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900" b="1" i="1" u="none" strike="noStrike" kern="1200" cap="none" spc="0" normalizeH="0" baseline="0" noProof="0" dirty="0">
                  <a:ln>
                    <a:noFill/>
                  </a:ln>
                  <a:solidFill>
                    <a:srgbClr val="FFFFFF"/>
                  </a:solidFill>
                  <a:effectLst/>
                  <a:uLnTx/>
                  <a:uFillTx/>
                  <a:latin typeface="Arial" charset="0"/>
                  <a:ea typeface="Arial" charset="0"/>
                  <a:cs typeface="Arial" charset="0"/>
                </a:rPr>
                <a:t>(index </a:t>
              </a:r>
              <a:r>
                <a:rPr lang="en-GB" sz="900" b="1" i="1" dirty="0">
                  <a:solidFill>
                    <a:srgbClr val="FFFFFF"/>
                  </a:solidFill>
                  <a:latin typeface="Arial" charset="0"/>
                  <a:ea typeface="Arial" charset="0"/>
                  <a:cs typeface="Arial" charset="0"/>
                </a:rPr>
                <a:t>114</a:t>
              </a:r>
              <a:r>
                <a:rPr kumimoji="0" lang="en-GB" sz="900" b="1" i="1" u="none" strike="noStrike" kern="1200" cap="none" spc="0" normalizeH="0" baseline="0" noProof="0" dirty="0">
                  <a:ln>
                    <a:noFill/>
                  </a:ln>
                  <a:solidFill>
                    <a:srgbClr val="FFFFFF"/>
                  </a:solidFill>
                  <a:effectLst/>
                  <a:uLnTx/>
                  <a:uFillTx/>
                  <a:latin typeface="Arial" charset="0"/>
                  <a:ea typeface="Arial" charset="0"/>
                  <a:cs typeface="Arial" charset="0"/>
                </a:rPr>
                <a:t>)</a:t>
              </a:r>
            </a:p>
          </p:txBody>
        </p:sp>
        <p:sp>
          <p:nvSpPr>
            <p:cNvPr id="17" name="Rectangle 16">
              <a:extLst>
                <a:ext uri="{FF2B5EF4-FFF2-40B4-BE49-F238E27FC236}">
                  <a16:creationId xmlns:a16="http://schemas.microsoft.com/office/drawing/2014/main" id="{B4735C8D-57E2-4847-900E-2AAE723E288A}"/>
                </a:ext>
              </a:extLst>
            </p:cNvPr>
            <p:cNvSpPr/>
            <p:nvPr/>
          </p:nvSpPr>
          <p:spPr>
            <a:xfrm>
              <a:off x="6791619" y="1451312"/>
              <a:ext cx="5904878" cy="1440000"/>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2400" b="1" dirty="0">
                  <a:solidFill>
                    <a:srgbClr val="FFFFFF"/>
                  </a:solidFill>
                  <a:latin typeface="Arial" charset="0"/>
                  <a:ea typeface="Arial" charset="0"/>
                  <a:cs typeface="Arial" charset="0"/>
                </a:rPr>
                <a:t>64</a:t>
              </a:r>
              <a:r>
                <a:rPr kumimoji="0" lang="en-GB" sz="2400" b="1" i="0" u="none" strike="noStrike" kern="1200" cap="none" spc="0" normalizeH="0" baseline="0" noProof="0" dirty="0">
                  <a:ln>
                    <a:noFill/>
                  </a:ln>
                  <a:solidFill>
                    <a:srgbClr val="FFFFFF"/>
                  </a:solidFill>
                  <a:effectLst/>
                  <a:uLnTx/>
                  <a:uFillTx/>
                  <a:latin typeface="Arial" charset="0"/>
                  <a:ea typeface="Arial" charset="0"/>
                  <a:cs typeface="Arial" charset="0"/>
                </a:rPr>
                <a:t>% </a:t>
              </a: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are very good at managing money</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900" b="1" i="1" u="none" strike="noStrike" kern="1200" cap="none" spc="0" normalizeH="0" baseline="0" noProof="0" dirty="0">
                  <a:ln>
                    <a:noFill/>
                  </a:ln>
                  <a:solidFill>
                    <a:srgbClr val="FFFFFF"/>
                  </a:solidFill>
                  <a:effectLst/>
                  <a:uLnTx/>
                  <a:uFillTx/>
                  <a:latin typeface="Arial" charset="0"/>
                  <a:ea typeface="Arial" charset="0"/>
                  <a:cs typeface="Arial" charset="0"/>
                </a:rPr>
                <a:t>(index 118)</a:t>
              </a:r>
            </a:p>
          </p:txBody>
        </p:sp>
        <p:sp>
          <p:nvSpPr>
            <p:cNvPr id="18" name="Rectangle 17">
              <a:extLst>
                <a:ext uri="{FF2B5EF4-FFF2-40B4-BE49-F238E27FC236}">
                  <a16:creationId xmlns:a16="http://schemas.microsoft.com/office/drawing/2014/main" id="{053D98AC-42C1-4273-8DF8-FA51F5B68855}"/>
                </a:ext>
              </a:extLst>
            </p:cNvPr>
            <p:cNvSpPr/>
            <p:nvPr/>
          </p:nvSpPr>
          <p:spPr>
            <a:xfrm>
              <a:off x="8668985" y="4754696"/>
              <a:ext cx="4027512" cy="1689432"/>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dirty="0">
                  <a:solidFill>
                    <a:srgbClr val="FFFFFF"/>
                  </a:solidFill>
                  <a:latin typeface="Arial" charset="0"/>
                  <a:ea typeface="Arial" charset="0"/>
                  <a:cs typeface="Arial" charset="0"/>
                </a:rPr>
                <a:t>8 in 10 buy new clothes based </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dirty="0">
                  <a:solidFill>
                    <a:srgbClr val="FFFFFF"/>
                  </a:solidFill>
                  <a:latin typeface="Arial" charset="0"/>
                  <a:ea typeface="Arial" charset="0"/>
                  <a:cs typeface="Arial" charset="0"/>
                </a:rPr>
                <a:t>on the quality of the product</a:t>
              </a:r>
            </a:p>
          </p:txBody>
        </p:sp>
        <p:sp>
          <p:nvSpPr>
            <p:cNvPr id="19" name="Rectangle 18">
              <a:extLst>
                <a:ext uri="{FF2B5EF4-FFF2-40B4-BE49-F238E27FC236}">
                  <a16:creationId xmlns:a16="http://schemas.microsoft.com/office/drawing/2014/main" id="{9E479DC6-C1EC-4D0D-9608-8676824791B7}"/>
                </a:ext>
              </a:extLst>
            </p:cNvPr>
            <p:cNvSpPr/>
            <p:nvPr/>
          </p:nvSpPr>
          <p:spPr>
            <a:xfrm>
              <a:off x="8393915" y="3094542"/>
              <a:ext cx="4302581" cy="1440000"/>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I </a:t>
              </a:r>
              <a:r>
                <a:rPr lang="en-GB" sz="1800" b="1" dirty="0">
                  <a:solidFill>
                    <a:srgbClr val="FFFFFF"/>
                  </a:solidFill>
                  <a:latin typeface="Arial" charset="0"/>
                  <a:ea typeface="Arial" charset="0"/>
                  <a:cs typeface="Arial" charset="0"/>
                </a:rPr>
                <a:t>look for profitable ways to </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dirty="0">
                  <a:solidFill>
                    <a:srgbClr val="FFFFFF"/>
                  </a:solidFill>
                  <a:latin typeface="Arial" charset="0"/>
                  <a:ea typeface="Arial" charset="0"/>
                  <a:cs typeface="Arial" charset="0"/>
                </a:rPr>
                <a:t>invest money’</a:t>
              </a:r>
              <a:endPar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200" b="1" dirty="0">
                  <a:solidFill>
                    <a:srgbClr val="FFFFFF"/>
                  </a:solidFill>
                  <a:latin typeface="Arial" charset="0"/>
                  <a:ea typeface="Arial" charset="0"/>
                  <a:cs typeface="Arial" charset="0"/>
                </a:rPr>
                <a:t>18</a:t>
              </a:r>
              <a:r>
                <a:rPr kumimoji="0" lang="en-GB" sz="1200" b="1" i="0" u="none" strike="noStrike" kern="1200" cap="none" spc="0" normalizeH="0" baseline="0" noProof="0" dirty="0">
                  <a:ln>
                    <a:noFill/>
                  </a:ln>
                  <a:solidFill>
                    <a:srgbClr val="FFFFFF"/>
                  </a:solidFill>
                  <a:effectLst/>
                  <a:uLnTx/>
                  <a:uFillTx/>
                  <a:latin typeface="Arial" charset="0"/>
                  <a:ea typeface="Arial" charset="0"/>
                  <a:cs typeface="Arial" charset="0"/>
                </a:rPr>
                <a:t>% more likely than the average UK adult</a:t>
              </a:r>
            </a:p>
          </p:txBody>
        </p:sp>
        <p:sp>
          <p:nvSpPr>
            <p:cNvPr id="20" name="Rectangle 19">
              <a:extLst>
                <a:ext uri="{FF2B5EF4-FFF2-40B4-BE49-F238E27FC236}">
                  <a16:creationId xmlns:a16="http://schemas.microsoft.com/office/drawing/2014/main" id="{BA3BD7BD-1A91-44D8-9950-689C54C61220}"/>
                </a:ext>
              </a:extLst>
            </p:cNvPr>
            <p:cNvSpPr/>
            <p:nvPr/>
          </p:nvSpPr>
          <p:spPr>
            <a:xfrm>
              <a:off x="4414345" y="3094542"/>
              <a:ext cx="3802718" cy="1440000"/>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2000" b="1" dirty="0">
                  <a:solidFill>
                    <a:srgbClr val="FFFFFF"/>
                  </a:solidFill>
                  <a:latin typeface="Arial" charset="0"/>
                  <a:ea typeface="Arial" charset="0"/>
                  <a:cs typeface="Arial" charset="0"/>
                </a:rPr>
                <a:t>£12,945</a:t>
              </a:r>
              <a:r>
                <a:rPr kumimoji="0" lang="en-GB" sz="2000" b="1" i="0" u="none" strike="noStrike" kern="1200" cap="none" spc="0" normalizeH="0" baseline="0" noProof="0" dirty="0">
                  <a:ln>
                    <a:noFill/>
                  </a:ln>
                  <a:solidFill>
                    <a:srgbClr val="FFFFFF"/>
                  </a:solidFill>
                  <a:effectLst/>
                  <a:uLnTx/>
                  <a:uFillTx/>
                  <a:latin typeface="Arial" charset="0"/>
                  <a:ea typeface="Arial" charset="0"/>
                  <a:cs typeface="Arial" charset="0"/>
                </a:rPr>
                <a:t>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intended spend on next car</a:t>
              </a:r>
            </a:p>
            <a:p>
              <a:pPr marL="0" marR="0" lvl="0" indent="0" algn="ctr" defTabSz="961844" rtl="0" eaLnBrk="1" fontAlgn="auto" latinLnBrk="0" hangingPunct="1">
                <a:lnSpc>
                  <a:spcPct val="100000"/>
                </a:lnSpc>
                <a:spcBef>
                  <a:spcPts val="0"/>
                </a:spcBef>
                <a:spcAft>
                  <a:spcPts val="0"/>
                </a:spcAft>
                <a:buClrTx/>
                <a:buSzTx/>
                <a:buFontTx/>
                <a:buNone/>
                <a:tabLst/>
                <a:defRPr/>
              </a:pPr>
              <a:r>
                <a:rPr lang="en-US" sz="1200" b="1" dirty="0">
                  <a:solidFill>
                    <a:srgbClr val="FFFFFF"/>
                  </a:solidFill>
                  <a:latin typeface="Arial" charset="0"/>
                  <a:ea typeface="Arial" charset="0"/>
                  <a:cs typeface="Arial" charset="0"/>
                </a:rPr>
                <a:t>24</a:t>
              </a:r>
              <a:r>
                <a:rPr kumimoji="0" lang="en-GB" sz="1200" b="1" i="0" u="none" strike="noStrike" kern="1200" cap="none" spc="0" normalizeH="0" baseline="0" noProof="0" dirty="0">
                  <a:ln>
                    <a:noFill/>
                  </a:ln>
                  <a:solidFill>
                    <a:srgbClr val="FFFFFF"/>
                  </a:solidFill>
                  <a:effectLst/>
                  <a:uLnTx/>
                  <a:uFillTx/>
                  <a:latin typeface="Arial" charset="0"/>
                  <a:ea typeface="Arial" charset="0"/>
                  <a:cs typeface="Arial" charset="0"/>
                </a:rPr>
                <a:t>% more than the average UK adult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charset="0"/>
                  <a:ea typeface="Arial" charset="0"/>
                  <a:cs typeface="Arial" charset="0"/>
                </a:rPr>
                <a:t>intending to buy a car in the next year</a:t>
              </a:r>
            </a:p>
          </p:txBody>
        </p:sp>
      </p:grpSp>
      <p:sp>
        <p:nvSpPr>
          <p:cNvPr id="2" name="Title 1">
            <a:extLst>
              <a:ext uri="{FF2B5EF4-FFF2-40B4-BE49-F238E27FC236}">
                <a16:creationId xmlns:a16="http://schemas.microsoft.com/office/drawing/2014/main" id="{B8B9AE36-383F-4D00-91D1-52AF9DD7A47B}"/>
              </a:ext>
            </a:extLst>
          </p:cNvPr>
          <p:cNvSpPr>
            <a:spLocks noGrp="1"/>
          </p:cNvSpPr>
          <p:nvPr>
            <p:ph type="title"/>
          </p:nvPr>
        </p:nvSpPr>
        <p:spPr/>
        <p:txBody>
          <a:bodyPr/>
          <a:lstStyle/>
          <a:p>
            <a:r>
              <a:rPr lang="en-US" dirty="0">
                <a:solidFill>
                  <a:srgbClr val="FFFFFF"/>
                </a:solidFill>
              </a:rPr>
              <a:t>Downton fans are savers in the market for big purchases</a:t>
            </a:r>
            <a:endParaRPr lang="en-GB" dirty="0">
              <a:solidFill>
                <a:srgbClr val="FFFFFF"/>
              </a:solidFill>
            </a:endParaRPr>
          </a:p>
        </p:txBody>
      </p:sp>
      <p:sp>
        <p:nvSpPr>
          <p:cNvPr id="6" name="Text Placeholder 5">
            <a:extLst>
              <a:ext uri="{FF2B5EF4-FFF2-40B4-BE49-F238E27FC236}">
                <a16:creationId xmlns:a16="http://schemas.microsoft.com/office/drawing/2014/main" id="{E9D16BEE-F510-4404-8778-90FABFEF7077}"/>
              </a:ext>
            </a:extLst>
          </p:cNvPr>
          <p:cNvSpPr>
            <a:spLocks noGrp="1"/>
          </p:cNvSpPr>
          <p:nvPr>
            <p:ph type="body" sz="quarter" idx="11"/>
          </p:nvPr>
        </p:nvSpPr>
        <p:spPr>
          <a:xfrm>
            <a:off x="7684169" y="7272817"/>
            <a:ext cx="5614320" cy="123111"/>
          </a:xfrm>
        </p:spPr>
        <p:txBody>
          <a:bodyPr/>
          <a:lstStyle/>
          <a:p>
            <a:r>
              <a:rPr lang="en-GB" b="1" dirty="0"/>
              <a:t>Source: </a:t>
            </a:r>
            <a:r>
              <a:rPr lang="en-GB" dirty="0"/>
              <a:t>GB TGI Survey</a:t>
            </a:r>
          </a:p>
        </p:txBody>
      </p:sp>
      <p:sp>
        <p:nvSpPr>
          <p:cNvPr id="7" name="Text Placeholder 6">
            <a:extLst>
              <a:ext uri="{FF2B5EF4-FFF2-40B4-BE49-F238E27FC236}">
                <a16:creationId xmlns:a16="http://schemas.microsoft.com/office/drawing/2014/main" id="{C875200A-021C-4FCD-AAAC-122B03DB8F4E}"/>
              </a:ext>
            </a:extLst>
          </p:cNvPr>
          <p:cNvSpPr>
            <a:spLocks noGrp="1"/>
          </p:cNvSpPr>
          <p:nvPr>
            <p:ph type="body" sz="quarter" idx="14"/>
          </p:nvPr>
        </p:nvSpPr>
        <p:spPr/>
        <p:txBody>
          <a:bodyPr/>
          <a:lstStyle/>
          <a:p>
            <a:r>
              <a:rPr lang="en-GB" i="1" dirty="0">
                <a:solidFill>
                  <a:srgbClr val="FFFFFF"/>
                </a:solidFill>
              </a:rPr>
              <a:t>Downton Abbey </a:t>
            </a:r>
            <a:r>
              <a:rPr lang="en-GB" dirty="0">
                <a:solidFill>
                  <a:srgbClr val="FFFFFF"/>
                </a:solidFill>
              </a:rPr>
              <a:t>fans are in control of personal finances and save up before investing in important, high quality products</a:t>
            </a:r>
          </a:p>
        </p:txBody>
      </p:sp>
    </p:spTree>
    <p:extLst>
      <p:ext uri="{BB962C8B-B14F-4D97-AF65-F5344CB8AC3E}">
        <p14:creationId xmlns:p14="http://schemas.microsoft.com/office/powerpoint/2010/main" val="791672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0.xml><?xml version="1.0" encoding="utf-8"?>
<a:theme xmlns:a="http://schemas.openxmlformats.org/drawingml/2006/main" name="4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11.xml><?xml version="1.0" encoding="utf-8"?>
<a:theme xmlns:a="http://schemas.openxmlformats.org/drawingml/2006/main" name="1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12.xml><?xml version="1.0" encoding="utf-8"?>
<a:theme xmlns:a="http://schemas.openxmlformats.org/drawingml/2006/main" name="1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2" id="{94ED719A-3707-4D55-B94C-2F5B14F80F6B}" vid="{EE99761A-A4B5-4226-A783-BCA55B8D99EF}"/>
    </a:ext>
  </a:extLst>
</a:theme>
</file>

<file path=ppt/theme/theme13.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14.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4.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C9FD65CF-771B-485A-85FD-E946D489AD66}"/>
    </a:ext>
  </a:extLst>
</a:theme>
</file>

<file path=ppt/theme/theme5.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AA65A6D-50E3-401E-92D2-748547AE51FA}"/>
    </a:ext>
  </a:extLst>
</a:theme>
</file>

<file path=ppt/theme/theme6.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7.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53E78992-053D-4CFA-A3B0-5AC09EE9680E}"/>
    </a:ext>
  </a:extLst>
</a:theme>
</file>

<file path=ppt/theme/theme8.xml><?xml version="1.0" encoding="utf-8"?>
<a:theme xmlns:a="http://schemas.openxmlformats.org/drawingml/2006/main" name="Thank You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5D18DF-51D0-478F-97B5-360C6FA66EE5}"/>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248835ED-A982-47BF-944B-5F4719FEBC6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459</Words>
  <Application>Microsoft Office PowerPoint</Application>
  <PresentationFormat>Custom</PresentationFormat>
  <Paragraphs>59</Paragraphs>
  <Slides>4</Slides>
  <Notes>1</Notes>
  <HiddenSlides>0</HiddenSlides>
  <MMClips>0</MMClips>
  <ScaleCrop>false</ScaleCrop>
  <HeadingPairs>
    <vt:vector size="8" baseType="variant">
      <vt:variant>
        <vt:lpstr>Fonts Used</vt:lpstr>
      </vt:variant>
      <vt:variant>
        <vt:i4>4</vt:i4>
      </vt:variant>
      <vt:variant>
        <vt:lpstr>Theme</vt:lpstr>
      </vt:variant>
      <vt:variant>
        <vt:i4>13</vt:i4>
      </vt:variant>
      <vt:variant>
        <vt:lpstr>Embedded OLE Servers</vt:lpstr>
      </vt:variant>
      <vt:variant>
        <vt:i4>1</vt:i4>
      </vt:variant>
      <vt:variant>
        <vt:lpstr>Slide Titles</vt:lpstr>
      </vt:variant>
      <vt:variant>
        <vt:i4>4</vt:i4>
      </vt:variant>
    </vt:vector>
  </HeadingPairs>
  <TitlesOfParts>
    <vt:vector size="22" baseType="lpstr">
      <vt:lpstr>Arial</vt:lpstr>
      <vt:lpstr>Century Gothic</vt:lpstr>
      <vt:lpstr>Impact</vt:lpstr>
      <vt:lpstr>Wingdings</vt:lpstr>
      <vt:lpstr>Divider Slides</vt:lpstr>
      <vt:lpstr>Statement Slides</vt:lpstr>
      <vt:lpstr>Copy Slides</vt:lpstr>
      <vt:lpstr>Image Slides</vt:lpstr>
      <vt:lpstr>Co-branding Slides</vt:lpstr>
      <vt:lpstr>Video Slides</vt:lpstr>
      <vt:lpstr>Charts and Graphs Slides</vt:lpstr>
      <vt:lpstr>Thank You Slides</vt:lpstr>
      <vt:lpstr>Appendix Slides</vt:lpstr>
      <vt:lpstr>4_Statement Slides</vt:lpstr>
      <vt:lpstr>1_Copy Slides</vt:lpstr>
      <vt:lpstr>1_Statement Slides</vt:lpstr>
      <vt:lpstr>2_Copy Slides</vt:lpstr>
      <vt:lpstr>think-cell Slide</vt:lpstr>
      <vt:lpstr>DOWNTON ABBEY: A NEW ERA</vt:lpstr>
      <vt:lpstr>DowNton abbey: audience profile</vt:lpstr>
      <vt:lpstr>DOWNTON ABBEY: a new era – the most premium blockbuster of 2022</vt:lpstr>
      <vt:lpstr>Downton fans are savers in the market for big purchase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2-08T16:13:43Z</dcterms:created>
  <dcterms:modified xsi:type="dcterms:W3CDTF">2022-01-07T16:12:42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